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6"/>
  </p:notesMasterIdLst>
  <p:sldIdLst>
    <p:sldId id="348" r:id="rId5"/>
    <p:sldId id="364" r:id="rId6"/>
    <p:sldId id="261" r:id="rId7"/>
    <p:sldId id="402" r:id="rId8"/>
    <p:sldId id="262" r:id="rId9"/>
    <p:sldId id="263" r:id="rId10"/>
    <p:sldId id="396" r:id="rId11"/>
    <p:sldId id="398" r:id="rId12"/>
    <p:sldId id="264" r:id="rId13"/>
    <p:sldId id="404" r:id="rId14"/>
    <p:sldId id="399" r:id="rId15"/>
  </p:sldIdLst>
  <p:sldSz cx="12192000" cy="6858000"/>
  <p:notesSz cx="7010400" cy="92964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2993EA5-2EA7-4532-8379-613B6B1339F4}">
          <p14:sldIdLst>
            <p14:sldId id="348"/>
            <p14:sldId id="364"/>
            <p14:sldId id="261"/>
            <p14:sldId id="402"/>
            <p14:sldId id="262"/>
            <p14:sldId id="263"/>
            <p14:sldId id="396"/>
            <p14:sldId id="398"/>
            <p14:sldId id="264"/>
            <p14:sldId id="404"/>
            <p14:sldId id="39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sults for Development" initials="R4D" lastIdx="24" clrIdx="0">
    <p:extLst>
      <p:ext uri="{19B8F6BF-5375-455C-9EA6-DF929625EA0E}">
        <p15:presenceInfo xmlns:p15="http://schemas.microsoft.com/office/powerpoint/2012/main" userId="Results for Development" providerId="None"/>
      </p:ext>
    </p:extLst>
  </p:cmAuthor>
  <p:cmAuthor id="2" name="Caroline Snead" initials="CS" lastIdx="25" clrIdx="1">
    <p:extLst>
      <p:ext uri="{19B8F6BF-5375-455C-9EA6-DF929625EA0E}">
        <p15:presenceInfo xmlns:p15="http://schemas.microsoft.com/office/powerpoint/2012/main" userId="S::csnead@r4d.org::dc903132-70e7-46a0-a470-463035a57e73" providerId="AD"/>
      </p:ext>
    </p:extLst>
  </p:cmAuthor>
  <p:cmAuthor id="3" name="Oluwagbenga Sadik" initials="OS" lastIdx="1" clrIdx="2">
    <p:extLst>
      <p:ext uri="{19B8F6BF-5375-455C-9EA6-DF929625EA0E}">
        <p15:presenceInfo xmlns:p15="http://schemas.microsoft.com/office/powerpoint/2012/main" userId="Oluwagbenga Sadik" providerId="None"/>
      </p:ext>
    </p:extLst>
  </p:cmAuthor>
  <p:cmAuthor id="4" name="'Gbenga Sadik" initials="OG" lastIdx="1" clrIdx="3">
    <p:extLst>
      <p:ext uri="{19B8F6BF-5375-455C-9EA6-DF929625EA0E}">
        <p15:presenceInfo xmlns:p15="http://schemas.microsoft.com/office/powerpoint/2012/main" userId="'Gbenga Sadik" providerId="None"/>
      </p:ext>
    </p:extLst>
  </p:cmAuthor>
  <p:cmAuthor id="5" name="Oluwagbenga Sadik (NGF)" initials="GS" lastIdx="1" clrIdx="4">
    <p:extLst>
      <p:ext uri="{19B8F6BF-5375-455C-9EA6-DF929625EA0E}">
        <p15:presenceInfo xmlns:p15="http://schemas.microsoft.com/office/powerpoint/2012/main" userId="Oluwagbenga Sadik (NG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90D8"/>
    <a:srgbClr val="CC0066"/>
    <a:srgbClr val="003E1C"/>
    <a:srgbClr val="007E39"/>
    <a:srgbClr val="05FF76"/>
    <a:srgbClr val="477F4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82" d="100"/>
          <a:sy n="82" d="100"/>
        </p:scale>
        <p:origin x="720" y="77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pixabay.com/en/cure-medicine-pharmacy-health-care-297557/" TargetMode="External"/><Relationship Id="rId1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hyperlink" Target="https://www.pngegg.com/en/search?q=vision" TargetMode="External"/></Relationships>
</file>

<file path=ppt/diagrams/_rels/data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pixabay.com/en/cure-medicine-pharmacy-health-care-297557/" TargetMode="External"/><Relationship Id="rId1" Type="http://schemas.openxmlformats.org/officeDocument/2006/relationships/image" Target="../media/image4.png"/><Relationship Id="rId5" Type="http://schemas.openxmlformats.org/officeDocument/2006/relationships/image" Target="../media/image6.png"/><Relationship Id="rId4" Type="http://schemas.openxmlformats.org/officeDocument/2006/relationships/hyperlink" Target="https://www.pngegg.com/en/search?q=vision" TargetMode="External"/></Relationships>
</file>

<file path=ppt/diagrams/_rels/drawing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sv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image" Target="../media/image9.svg"/><Relationship Id="rId1" Type="http://schemas.openxmlformats.org/officeDocument/2006/relationships/image" Target="../media/image8.png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10" Type="http://schemas.openxmlformats.org/officeDocument/2006/relationships/image" Target="../media/image17.svg"/><Relationship Id="rId4" Type="http://schemas.openxmlformats.org/officeDocument/2006/relationships/image" Target="../media/image11.svg"/><Relationship Id="rId9" Type="http://schemas.openxmlformats.org/officeDocument/2006/relationships/image" Target="../media/image16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5EB5F3-F68B-4667-9855-BE2FFDB079B9}" type="doc">
      <dgm:prSet loTypeId="urn:microsoft.com/office/officeart/2018/2/layout/IconVerticalSolid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C207C6C7-2989-4B07-B0AD-A573F2714D90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he health unit of the NGF Secretariat is responsible for coordinating all health-related interventions being championed by the Secretariat.</a:t>
          </a:r>
        </a:p>
      </dgm:t>
    </dgm:pt>
    <dgm:pt modelId="{D3A13627-7B56-4B1B-B339-42890EF6BAD1}" type="parTrans" cxnId="{F50419B9-92E0-442F-807E-8EC18808AA33}">
      <dgm:prSet/>
      <dgm:spPr/>
      <dgm:t>
        <a:bodyPr/>
        <a:lstStyle/>
        <a:p>
          <a:endParaRPr lang="en-US"/>
        </a:p>
      </dgm:t>
    </dgm:pt>
    <dgm:pt modelId="{642BAF8F-2263-47B3-A3C5-97C9A042804A}" type="sibTrans" cxnId="{F50419B9-92E0-442F-807E-8EC18808AA33}">
      <dgm:prSet/>
      <dgm:spPr/>
      <dgm:t>
        <a:bodyPr/>
        <a:lstStyle/>
        <a:p>
          <a:endParaRPr lang="en-US"/>
        </a:p>
      </dgm:t>
    </dgm:pt>
    <dgm:pt modelId="{6280B8D1-0855-40C5-98A7-26C345D06C6A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o be the leading go-to resource and learning hub for catalyzing subnational health development and contributing to health SDGs.</a:t>
          </a:r>
        </a:p>
      </dgm:t>
    </dgm:pt>
    <dgm:pt modelId="{1EFF29C4-A1F5-40C6-A19F-BEF57A90163E}" type="parTrans" cxnId="{DF213F0F-0CA0-472F-B36A-A511CE92857F}">
      <dgm:prSet/>
      <dgm:spPr/>
      <dgm:t>
        <a:bodyPr/>
        <a:lstStyle/>
        <a:p>
          <a:endParaRPr lang="en-US"/>
        </a:p>
      </dgm:t>
    </dgm:pt>
    <dgm:pt modelId="{6A7F1276-E8EE-4C99-AC9B-D488E39415AE}" type="sibTrans" cxnId="{DF213F0F-0CA0-472F-B36A-A511CE92857F}">
      <dgm:prSet/>
      <dgm:spPr/>
      <dgm:t>
        <a:bodyPr/>
        <a:lstStyle/>
        <a:p>
          <a:endParaRPr lang="en-US"/>
        </a:p>
      </dgm:t>
    </dgm:pt>
    <dgm:pt modelId="{3305E1A9-67D5-49AF-94EB-388F789603EC}">
      <dgm:prSet/>
      <dgm:spPr>
        <a:solidFill>
          <a:schemeClr val="accent3">
            <a:lumMod val="20000"/>
            <a:lumOff val="80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US" dirty="0"/>
            <a:t>To keep the NGF informed and up to date on health priorities and promote evidence-based decision-making &amp; actions, accountability, and learning for better health outcomes at the subnational level.</a:t>
          </a:r>
        </a:p>
      </dgm:t>
    </dgm:pt>
    <dgm:pt modelId="{4A88F693-90BA-4895-BA04-7C54C32E0520}" type="parTrans" cxnId="{1D48B397-0BB5-4EB2-9575-B3D55C30AC32}">
      <dgm:prSet/>
      <dgm:spPr/>
      <dgm:t>
        <a:bodyPr/>
        <a:lstStyle/>
        <a:p>
          <a:endParaRPr lang="en-US"/>
        </a:p>
      </dgm:t>
    </dgm:pt>
    <dgm:pt modelId="{04147F68-D164-43DD-AA6F-EE2EF9DA4EFD}" type="sibTrans" cxnId="{1D48B397-0BB5-4EB2-9575-B3D55C30AC32}">
      <dgm:prSet/>
      <dgm:spPr/>
      <dgm:t>
        <a:bodyPr/>
        <a:lstStyle/>
        <a:p>
          <a:endParaRPr lang="en-US"/>
        </a:p>
      </dgm:t>
    </dgm:pt>
    <dgm:pt modelId="{F167D1B9-44AA-4B08-981C-4B30D949E4D1}" type="pres">
      <dgm:prSet presAssocID="{555EB5F3-F68B-4667-9855-BE2FFDB079B9}" presName="root" presStyleCnt="0">
        <dgm:presLayoutVars>
          <dgm:dir/>
          <dgm:resizeHandles val="exact"/>
        </dgm:presLayoutVars>
      </dgm:prSet>
      <dgm:spPr/>
    </dgm:pt>
    <dgm:pt modelId="{E5323E14-38A7-482D-9A5A-6167F95E57E6}" type="pres">
      <dgm:prSet presAssocID="{C207C6C7-2989-4B07-B0AD-A573F2714D90}" presName="compNode" presStyleCnt="0"/>
      <dgm:spPr/>
    </dgm:pt>
    <dgm:pt modelId="{A8C2BDA8-659B-4E6D-AF48-FE8868091F23}" type="pres">
      <dgm:prSet presAssocID="{C207C6C7-2989-4B07-B0AD-A573F2714D90}" presName="bgRect" presStyleLbl="bgShp" presStyleIdx="0" presStyleCnt="3"/>
      <dgm:spPr>
        <a:solidFill>
          <a:schemeClr val="accent3">
            <a:lumMod val="60000"/>
            <a:lumOff val="40000"/>
          </a:schemeClr>
        </a:solidFill>
      </dgm:spPr>
    </dgm:pt>
    <dgm:pt modelId="{BAD893A9-E1D6-4497-AED7-184B73D1CEFC}" type="pres">
      <dgm:prSet presAssocID="{C207C6C7-2989-4B07-B0AD-A573F2714D90}" presName="iconRect" presStyleLbl="node1" presStyleIdx="0" presStyleCnt="3" custScaleX="159057" custScaleY="155896"/>
      <dgm:spPr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8000" r="-8000"/>
          </a:stretch>
        </a:blipFill>
      </dgm:spPr>
      <dgm:extLst>
        <a:ext uri="{E40237B7-FDA0-4F09-8148-C483321AD2D9}">
          <dgm14:cNvPr xmlns:dgm14="http://schemas.microsoft.com/office/drawing/2010/diagram" id="0" name="" descr="Doctor"/>
        </a:ext>
      </dgm:extLst>
    </dgm:pt>
    <dgm:pt modelId="{05142417-2379-4122-9625-EB9787E06F41}" type="pres">
      <dgm:prSet presAssocID="{C207C6C7-2989-4B07-B0AD-A573F2714D90}" presName="spaceRect" presStyleCnt="0"/>
      <dgm:spPr/>
    </dgm:pt>
    <dgm:pt modelId="{E2B8D00B-172D-4BDB-9BB2-61BADEFE3498}" type="pres">
      <dgm:prSet presAssocID="{C207C6C7-2989-4B07-B0AD-A573F2714D90}" presName="parTx" presStyleLbl="revTx" presStyleIdx="0" presStyleCnt="3">
        <dgm:presLayoutVars>
          <dgm:chMax val="0"/>
          <dgm:chPref val="0"/>
        </dgm:presLayoutVars>
      </dgm:prSet>
      <dgm:spPr/>
    </dgm:pt>
    <dgm:pt modelId="{2130E24B-28F6-48B8-968B-2F3FF6E25CCF}" type="pres">
      <dgm:prSet presAssocID="{642BAF8F-2263-47B3-A3C5-97C9A042804A}" presName="sibTrans" presStyleCnt="0"/>
      <dgm:spPr/>
    </dgm:pt>
    <dgm:pt modelId="{5739EA5F-895C-482B-9112-6E28E3A89957}" type="pres">
      <dgm:prSet presAssocID="{6280B8D1-0855-40C5-98A7-26C345D06C6A}" presName="compNode" presStyleCnt="0"/>
      <dgm:spPr/>
    </dgm:pt>
    <dgm:pt modelId="{EF953CDC-D142-4A18-9115-FEE1E49DC8A8}" type="pres">
      <dgm:prSet presAssocID="{6280B8D1-0855-40C5-98A7-26C345D06C6A}" presName="bgRect" presStyleLbl="bgShp" presStyleIdx="1" presStyleCnt="3"/>
      <dgm:spPr>
        <a:solidFill>
          <a:schemeClr val="accent3">
            <a:lumMod val="60000"/>
            <a:lumOff val="40000"/>
          </a:schemeClr>
        </a:solidFill>
      </dgm:spPr>
    </dgm:pt>
    <dgm:pt modelId="{92C286ED-E008-41C4-98AA-F905D84607A5}" type="pres">
      <dgm:prSet presAssocID="{6280B8D1-0855-40C5-98A7-26C345D06C6A}" presName="iconRect" presStyleLbl="node1" presStyleIdx="1" presStyleCnt="3" custScaleX="156458" custScaleY="158773"/>
      <dgm:spPr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000" r="-2000"/>
          </a:stretch>
        </a:blipFill>
      </dgm:spPr>
      <dgm:extLst>
        <a:ext uri="{E40237B7-FDA0-4F09-8148-C483321AD2D9}">
          <dgm14:cNvPr xmlns:dgm14="http://schemas.microsoft.com/office/drawing/2010/diagram" id="0" name="" descr="Business Growth"/>
        </a:ext>
      </dgm:extLst>
    </dgm:pt>
    <dgm:pt modelId="{FF52A17F-4534-4521-821B-DE779D23C5C8}" type="pres">
      <dgm:prSet presAssocID="{6280B8D1-0855-40C5-98A7-26C345D06C6A}" presName="spaceRect" presStyleCnt="0"/>
      <dgm:spPr/>
    </dgm:pt>
    <dgm:pt modelId="{08020BF7-D86B-4CD6-BA6E-4C2F851E7B51}" type="pres">
      <dgm:prSet presAssocID="{6280B8D1-0855-40C5-98A7-26C345D06C6A}" presName="parTx" presStyleLbl="revTx" presStyleIdx="1" presStyleCnt="3">
        <dgm:presLayoutVars>
          <dgm:chMax val="0"/>
          <dgm:chPref val="0"/>
        </dgm:presLayoutVars>
      </dgm:prSet>
      <dgm:spPr/>
    </dgm:pt>
    <dgm:pt modelId="{824C57AB-EA06-46F9-955A-B85FFF3BFDE3}" type="pres">
      <dgm:prSet presAssocID="{6A7F1276-E8EE-4C99-AC9B-D488E39415AE}" presName="sibTrans" presStyleCnt="0"/>
      <dgm:spPr/>
    </dgm:pt>
    <dgm:pt modelId="{985ED7BC-7514-4F4D-BA4B-174E13AB6737}" type="pres">
      <dgm:prSet presAssocID="{3305E1A9-67D5-49AF-94EB-388F789603EC}" presName="compNode" presStyleCnt="0"/>
      <dgm:spPr/>
    </dgm:pt>
    <dgm:pt modelId="{62FAF933-2AAE-4405-98F9-A090FDAFC1D2}" type="pres">
      <dgm:prSet presAssocID="{3305E1A9-67D5-49AF-94EB-388F789603EC}" presName="bgRect" presStyleLbl="bgShp" presStyleIdx="2" presStyleCnt="3"/>
      <dgm:spPr>
        <a:solidFill>
          <a:schemeClr val="accent3">
            <a:lumMod val="60000"/>
            <a:lumOff val="40000"/>
          </a:schemeClr>
        </a:solidFill>
      </dgm:spPr>
    </dgm:pt>
    <dgm:pt modelId="{8C71CAB1-1EB9-4E94-A703-CC8CF472029D}" type="pres">
      <dgm:prSet presAssocID="{3305E1A9-67D5-49AF-94EB-388F789603EC}" presName="iconRect" presStyleLbl="node1" presStyleIdx="2" presStyleCnt="3" custScaleX="159057" custScaleY="172046"/>
      <dgm:spPr>
        <a:blipFill rotWithShape="1">
          <a:blip xmlns:r="http://schemas.openxmlformats.org/officeDocument/2006/relationships" r:embed="rId5"/>
          <a:srcRect/>
          <a:stretch>
            <a:fillRect l="-10000" r="-10000"/>
          </a:stretch>
        </a:blipFill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6F4ABF80-1CA6-4E73-A0AA-709B1E869509}" type="pres">
      <dgm:prSet presAssocID="{3305E1A9-67D5-49AF-94EB-388F789603EC}" presName="spaceRect" presStyleCnt="0"/>
      <dgm:spPr/>
    </dgm:pt>
    <dgm:pt modelId="{AB870FE2-D677-4F8F-81FD-3A8EC122C3FD}" type="pres">
      <dgm:prSet presAssocID="{3305E1A9-67D5-49AF-94EB-388F789603EC}" presName="parTx" presStyleLbl="revTx" presStyleIdx="2" presStyleCnt="3">
        <dgm:presLayoutVars>
          <dgm:chMax val="0"/>
          <dgm:chPref val="0"/>
        </dgm:presLayoutVars>
      </dgm:prSet>
      <dgm:spPr/>
    </dgm:pt>
  </dgm:ptLst>
  <dgm:cxnLst>
    <dgm:cxn modelId="{2441E107-DDED-4B64-A927-17F19287F7B4}" type="presOf" srcId="{555EB5F3-F68B-4667-9855-BE2FFDB079B9}" destId="{F167D1B9-44AA-4B08-981C-4B30D949E4D1}" srcOrd="0" destOrd="0" presId="urn:microsoft.com/office/officeart/2018/2/layout/IconVerticalSolidList"/>
    <dgm:cxn modelId="{DF213F0F-0CA0-472F-B36A-A511CE92857F}" srcId="{555EB5F3-F68B-4667-9855-BE2FFDB079B9}" destId="{6280B8D1-0855-40C5-98A7-26C345D06C6A}" srcOrd="1" destOrd="0" parTransId="{1EFF29C4-A1F5-40C6-A19F-BEF57A90163E}" sibTransId="{6A7F1276-E8EE-4C99-AC9B-D488E39415AE}"/>
    <dgm:cxn modelId="{1D48B397-0BB5-4EB2-9575-B3D55C30AC32}" srcId="{555EB5F3-F68B-4667-9855-BE2FFDB079B9}" destId="{3305E1A9-67D5-49AF-94EB-388F789603EC}" srcOrd="2" destOrd="0" parTransId="{4A88F693-90BA-4895-BA04-7C54C32E0520}" sibTransId="{04147F68-D164-43DD-AA6F-EE2EF9DA4EFD}"/>
    <dgm:cxn modelId="{FC3F11B2-8A7E-4361-98B5-9461703F30E4}" type="presOf" srcId="{3305E1A9-67D5-49AF-94EB-388F789603EC}" destId="{AB870FE2-D677-4F8F-81FD-3A8EC122C3FD}" srcOrd="0" destOrd="0" presId="urn:microsoft.com/office/officeart/2018/2/layout/IconVerticalSolidList"/>
    <dgm:cxn modelId="{F50419B9-92E0-442F-807E-8EC18808AA33}" srcId="{555EB5F3-F68B-4667-9855-BE2FFDB079B9}" destId="{C207C6C7-2989-4B07-B0AD-A573F2714D90}" srcOrd="0" destOrd="0" parTransId="{D3A13627-7B56-4B1B-B339-42890EF6BAD1}" sibTransId="{642BAF8F-2263-47B3-A3C5-97C9A042804A}"/>
    <dgm:cxn modelId="{BC4E0CC7-AB9B-4BF4-893E-8FCD906CE6FD}" type="presOf" srcId="{C207C6C7-2989-4B07-B0AD-A573F2714D90}" destId="{E2B8D00B-172D-4BDB-9BB2-61BADEFE3498}" srcOrd="0" destOrd="0" presId="urn:microsoft.com/office/officeart/2018/2/layout/IconVerticalSolidList"/>
    <dgm:cxn modelId="{F0B77DCB-8761-46F1-AD8F-A6D4EE035C43}" type="presOf" srcId="{6280B8D1-0855-40C5-98A7-26C345D06C6A}" destId="{08020BF7-D86B-4CD6-BA6E-4C2F851E7B51}" srcOrd="0" destOrd="0" presId="urn:microsoft.com/office/officeart/2018/2/layout/IconVerticalSolidList"/>
    <dgm:cxn modelId="{4FF5FC86-EB8B-436F-91FB-9EE011929C6F}" type="presParOf" srcId="{F167D1B9-44AA-4B08-981C-4B30D949E4D1}" destId="{E5323E14-38A7-482D-9A5A-6167F95E57E6}" srcOrd="0" destOrd="0" presId="urn:microsoft.com/office/officeart/2018/2/layout/IconVerticalSolidList"/>
    <dgm:cxn modelId="{820711EC-443D-4A2A-B3A6-E9406F056257}" type="presParOf" srcId="{E5323E14-38A7-482D-9A5A-6167F95E57E6}" destId="{A8C2BDA8-659B-4E6D-AF48-FE8868091F23}" srcOrd="0" destOrd="0" presId="urn:microsoft.com/office/officeart/2018/2/layout/IconVerticalSolidList"/>
    <dgm:cxn modelId="{ECAC4F20-FBF7-4908-81DD-38767E8BF519}" type="presParOf" srcId="{E5323E14-38A7-482D-9A5A-6167F95E57E6}" destId="{BAD893A9-E1D6-4497-AED7-184B73D1CEFC}" srcOrd="1" destOrd="0" presId="urn:microsoft.com/office/officeart/2018/2/layout/IconVerticalSolidList"/>
    <dgm:cxn modelId="{EBFE868B-C3A7-4510-9C75-4CF1922D9B46}" type="presParOf" srcId="{E5323E14-38A7-482D-9A5A-6167F95E57E6}" destId="{05142417-2379-4122-9625-EB9787E06F41}" srcOrd="2" destOrd="0" presId="urn:microsoft.com/office/officeart/2018/2/layout/IconVerticalSolidList"/>
    <dgm:cxn modelId="{E0D702AA-757F-4139-B37D-E2A6DC5B9FBE}" type="presParOf" srcId="{E5323E14-38A7-482D-9A5A-6167F95E57E6}" destId="{E2B8D00B-172D-4BDB-9BB2-61BADEFE3498}" srcOrd="3" destOrd="0" presId="urn:microsoft.com/office/officeart/2018/2/layout/IconVerticalSolidList"/>
    <dgm:cxn modelId="{1E15370A-A734-461C-B9A7-0C4FDCF6A85B}" type="presParOf" srcId="{F167D1B9-44AA-4B08-981C-4B30D949E4D1}" destId="{2130E24B-28F6-48B8-968B-2F3FF6E25CCF}" srcOrd="1" destOrd="0" presId="urn:microsoft.com/office/officeart/2018/2/layout/IconVerticalSolidList"/>
    <dgm:cxn modelId="{52B7B2D0-6372-417C-BEF2-2B83DB9C94A0}" type="presParOf" srcId="{F167D1B9-44AA-4B08-981C-4B30D949E4D1}" destId="{5739EA5F-895C-482B-9112-6E28E3A89957}" srcOrd="2" destOrd="0" presId="urn:microsoft.com/office/officeart/2018/2/layout/IconVerticalSolidList"/>
    <dgm:cxn modelId="{B7A9C6BD-B14F-4132-AFEA-62D00D45803E}" type="presParOf" srcId="{5739EA5F-895C-482B-9112-6E28E3A89957}" destId="{EF953CDC-D142-4A18-9115-FEE1E49DC8A8}" srcOrd="0" destOrd="0" presId="urn:microsoft.com/office/officeart/2018/2/layout/IconVerticalSolidList"/>
    <dgm:cxn modelId="{479DE3A1-5D8B-4653-B0F6-7124C04F8A28}" type="presParOf" srcId="{5739EA5F-895C-482B-9112-6E28E3A89957}" destId="{92C286ED-E008-41C4-98AA-F905D84607A5}" srcOrd="1" destOrd="0" presId="urn:microsoft.com/office/officeart/2018/2/layout/IconVerticalSolidList"/>
    <dgm:cxn modelId="{958C13B1-538B-4CDA-AEF5-34450BE2C7E6}" type="presParOf" srcId="{5739EA5F-895C-482B-9112-6E28E3A89957}" destId="{FF52A17F-4534-4521-821B-DE779D23C5C8}" srcOrd="2" destOrd="0" presId="urn:microsoft.com/office/officeart/2018/2/layout/IconVerticalSolidList"/>
    <dgm:cxn modelId="{01B47510-4AA0-460C-99FB-AD5D507EAF3A}" type="presParOf" srcId="{5739EA5F-895C-482B-9112-6E28E3A89957}" destId="{08020BF7-D86B-4CD6-BA6E-4C2F851E7B51}" srcOrd="3" destOrd="0" presId="urn:microsoft.com/office/officeart/2018/2/layout/IconVerticalSolidList"/>
    <dgm:cxn modelId="{E6DDC814-5C65-452C-BC39-BC4CFDAA931F}" type="presParOf" srcId="{F167D1B9-44AA-4B08-981C-4B30D949E4D1}" destId="{824C57AB-EA06-46F9-955A-B85FFF3BFDE3}" srcOrd="3" destOrd="0" presId="urn:microsoft.com/office/officeart/2018/2/layout/IconVerticalSolidList"/>
    <dgm:cxn modelId="{2CA49330-FFFF-4E15-9728-D55702FD5419}" type="presParOf" srcId="{F167D1B9-44AA-4B08-981C-4B30D949E4D1}" destId="{985ED7BC-7514-4F4D-BA4B-174E13AB6737}" srcOrd="4" destOrd="0" presId="urn:microsoft.com/office/officeart/2018/2/layout/IconVerticalSolidList"/>
    <dgm:cxn modelId="{AA2D1CE8-3509-4E0E-B271-472C8C4556DA}" type="presParOf" srcId="{985ED7BC-7514-4F4D-BA4B-174E13AB6737}" destId="{62FAF933-2AAE-4405-98F9-A090FDAFC1D2}" srcOrd="0" destOrd="0" presId="urn:microsoft.com/office/officeart/2018/2/layout/IconVerticalSolidList"/>
    <dgm:cxn modelId="{354060FA-508D-4D44-8C3C-E510D5294FCF}" type="presParOf" srcId="{985ED7BC-7514-4F4D-BA4B-174E13AB6737}" destId="{8C71CAB1-1EB9-4E94-A703-CC8CF472029D}" srcOrd="1" destOrd="0" presId="urn:microsoft.com/office/officeart/2018/2/layout/IconVerticalSolidList"/>
    <dgm:cxn modelId="{4710B77C-26EF-4516-8432-6278C684B9CA}" type="presParOf" srcId="{985ED7BC-7514-4F4D-BA4B-174E13AB6737}" destId="{6F4ABF80-1CA6-4E73-A0AA-709B1E869509}" srcOrd="2" destOrd="0" presId="urn:microsoft.com/office/officeart/2018/2/layout/IconVerticalSolidList"/>
    <dgm:cxn modelId="{938DC143-7DAD-49BE-A322-BA3BACA63C0C}" type="presParOf" srcId="{985ED7BC-7514-4F4D-BA4B-174E13AB6737}" destId="{AB870FE2-D677-4F8F-81FD-3A8EC122C3FD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31CE997-49F4-43B3-A5C0-16750D934E6A}" type="doc">
      <dgm:prSet loTypeId="urn:microsoft.com/office/officeart/2005/8/layout/defaul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3D911586-8181-4EFC-AB46-6AC09FC7F7DA}">
      <dgm:prSet/>
      <dgm:spPr/>
      <dgm:t>
        <a:bodyPr/>
        <a:lstStyle/>
        <a:p>
          <a:r>
            <a:rPr lang="en-US"/>
            <a:t>Dr Ahmad Abdulwahab</a:t>
          </a:r>
        </a:p>
      </dgm:t>
    </dgm:pt>
    <dgm:pt modelId="{3110DE0E-45ED-4587-B751-1A21F15E1C71}" type="parTrans" cxnId="{5A89B982-C71D-4B75-BA24-D55897A70591}">
      <dgm:prSet/>
      <dgm:spPr/>
      <dgm:t>
        <a:bodyPr/>
        <a:lstStyle/>
        <a:p>
          <a:endParaRPr lang="en-US"/>
        </a:p>
      </dgm:t>
    </dgm:pt>
    <dgm:pt modelId="{68BD3D44-CEC7-4CD6-B942-0B4E4BB66265}" type="sibTrans" cxnId="{5A89B982-C71D-4B75-BA24-D55897A70591}">
      <dgm:prSet/>
      <dgm:spPr/>
      <dgm:t>
        <a:bodyPr/>
        <a:lstStyle/>
        <a:p>
          <a:endParaRPr lang="en-US"/>
        </a:p>
      </dgm:t>
    </dgm:pt>
    <dgm:pt modelId="{793FBB61-8852-42A2-8D82-70054DD011DD}">
      <dgm:prSet/>
      <dgm:spPr/>
      <dgm:t>
        <a:bodyPr/>
        <a:lstStyle/>
        <a:p>
          <a:r>
            <a:rPr lang="en-US"/>
            <a:t>Senior Health Advisor</a:t>
          </a:r>
        </a:p>
      </dgm:t>
    </dgm:pt>
    <dgm:pt modelId="{BCDF924E-CF10-4E17-A098-217FBA46D311}" type="parTrans" cxnId="{A535A184-BA29-490A-A70D-D26707296D0D}">
      <dgm:prSet/>
      <dgm:spPr/>
      <dgm:t>
        <a:bodyPr/>
        <a:lstStyle/>
        <a:p>
          <a:endParaRPr lang="en-US"/>
        </a:p>
      </dgm:t>
    </dgm:pt>
    <dgm:pt modelId="{A7EAFB76-FC90-4FFD-8A83-F40F43C73EA5}" type="sibTrans" cxnId="{A535A184-BA29-490A-A70D-D26707296D0D}">
      <dgm:prSet/>
      <dgm:spPr/>
      <dgm:t>
        <a:bodyPr/>
        <a:lstStyle/>
        <a:p>
          <a:endParaRPr lang="en-US"/>
        </a:p>
      </dgm:t>
    </dgm:pt>
    <dgm:pt modelId="{32F6650B-B47B-4526-A51F-3FF218304704}">
      <dgm:prSet/>
      <dgm:spPr/>
      <dgm:t>
        <a:bodyPr/>
        <a:lstStyle/>
        <a:p>
          <a:r>
            <a:rPr lang="en-US" dirty="0"/>
            <a:t>Dr Chinekwu Oreh</a:t>
          </a:r>
        </a:p>
      </dgm:t>
    </dgm:pt>
    <dgm:pt modelId="{3A9D4CD9-3BA7-4607-A0DB-BB3056D0EF9B}" type="parTrans" cxnId="{69C6BCC0-1135-48BD-BD85-CD6138395126}">
      <dgm:prSet/>
      <dgm:spPr/>
      <dgm:t>
        <a:bodyPr/>
        <a:lstStyle/>
        <a:p>
          <a:endParaRPr lang="en-US"/>
        </a:p>
      </dgm:t>
    </dgm:pt>
    <dgm:pt modelId="{F5E17EA2-97D9-451F-8E7F-15B3BD6E673D}" type="sibTrans" cxnId="{69C6BCC0-1135-48BD-BD85-CD6138395126}">
      <dgm:prSet/>
      <dgm:spPr/>
      <dgm:t>
        <a:bodyPr/>
        <a:lstStyle/>
        <a:p>
          <a:endParaRPr lang="en-US"/>
        </a:p>
      </dgm:t>
    </dgm:pt>
    <dgm:pt modelId="{965F15CB-9473-4D4A-A9A0-07BD0DCD7072}">
      <dgm:prSet/>
      <dgm:spPr/>
      <dgm:t>
        <a:bodyPr/>
        <a:lstStyle/>
        <a:p>
          <a:r>
            <a:rPr lang="en-US"/>
            <a:t>Health Specialist</a:t>
          </a:r>
        </a:p>
      </dgm:t>
    </dgm:pt>
    <dgm:pt modelId="{E2A8C192-3EB3-4138-A12C-102C3073184B}" type="parTrans" cxnId="{52B82AD4-FD6D-421C-AF0B-9A9AA18B643A}">
      <dgm:prSet/>
      <dgm:spPr/>
      <dgm:t>
        <a:bodyPr/>
        <a:lstStyle/>
        <a:p>
          <a:endParaRPr lang="en-US"/>
        </a:p>
      </dgm:t>
    </dgm:pt>
    <dgm:pt modelId="{F5418F94-FF51-4BEC-845F-0E765AE5B867}" type="sibTrans" cxnId="{52B82AD4-FD6D-421C-AF0B-9A9AA18B643A}">
      <dgm:prSet/>
      <dgm:spPr/>
      <dgm:t>
        <a:bodyPr/>
        <a:lstStyle/>
        <a:p>
          <a:endParaRPr lang="en-US"/>
        </a:p>
      </dgm:t>
    </dgm:pt>
    <dgm:pt modelId="{C60E48E8-4E11-4A7E-B2DE-37DE0FED75E4}">
      <dgm:prSet/>
      <dgm:spPr/>
      <dgm:t>
        <a:bodyPr/>
        <a:lstStyle/>
        <a:p>
          <a:r>
            <a:rPr lang="en-US"/>
            <a:t>Dr Avuwa Oteri</a:t>
          </a:r>
        </a:p>
      </dgm:t>
    </dgm:pt>
    <dgm:pt modelId="{0E31FFEF-075C-44FB-BF55-BEEB28BFC1DB}" type="parTrans" cxnId="{96D8DFC3-56A8-411C-B998-EFD3F9A1E862}">
      <dgm:prSet/>
      <dgm:spPr/>
      <dgm:t>
        <a:bodyPr/>
        <a:lstStyle/>
        <a:p>
          <a:endParaRPr lang="en-US"/>
        </a:p>
      </dgm:t>
    </dgm:pt>
    <dgm:pt modelId="{BD9EA790-BAEF-4994-A71C-2A2B1362BC54}" type="sibTrans" cxnId="{96D8DFC3-56A8-411C-B998-EFD3F9A1E862}">
      <dgm:prSet/>
      <dgm:spPr/>
      <dgm:t>
        <a:bodyPr/>
        <a:lstStyle/>
        <a:p>
          <a:endParaRPr lang="en-US"/>
        </a:p>
      </dgm:t>
    </dgm:pt>
    <dgm:pt modelId="{3D103DD4-DB94-4B50-935E-36E2E1F79E92}">
      <dgm:prSet/>
      <dgm:spPr/>
      <dgm:t>
        <a:bodyPr/>
        <a:lstStyle/>
        <a:p>
          <a:r>
            <a:rPr lang="en-US"/>
            <a:t>Immunization Advisor</a:t>
          </a:r>
        </a:p>
      </dgm:t>
    </dgm:pt>
    <dgm:pt modelId="{8F4A95EC-2A7C-41B3-887F-994C39CCBEF4}" type="parTrans" cxnId="{FD29E3DC-6D7F-4DF9-8FE7-34DBB96DE76F}">
      <dgm:prSet/>
      <dgm:spPr/>
      <dgm:t>
        <a:bodyPr/>
        <a:lstStyle/>
        <a:p>
          <a:endParaRPr lang="en-US"/>
        </a:p>
      </dgm:t>
    </dgm:pt>
    <dgm:pt modelId="{82FA90CF-A2CC-496D-8295-A68DE2CB97DA}" type="sibTrans" cxnId="{FD29E3DC-6D7F-4DF9-8FE7-34DBB96DE76F}">
      <dgm:prSet/>
      <dgm:spPr/>
      <dgm:t>
        <a:bodyPr/>
        <a:lstStyle/>
        <a:p>
          <a:endParaRPr lang="en-US"/>
        </a:p>
      </dgm:t>
    </dgm:pt>
    <dgm:pt modelId="{5E94EA85-0820-4994-981F-3A28F2529C84}">
      <dgm:prSet/>
      <dgm:spPr/>
      <dgm:t>
        <a:bodyPr/>
        <a:lstStyle/>
        <a:p>
          <a:r>
            <a:rPr lang="en-US"/>
            <a:t>Maryam Yahaya</a:t>
          </a:r>
        </a:p>
      </dgm:t>
    </dgm:pt>
    <dgm:pt modelId="{DD66073C-CE83-4E5C-8D3D-AE58FC15FEBF}" type="parTrans" cxnId="{CAEC81DE-44FF-4E82-92E4-034519DA2542}">
      <dgm:prSet/>
      <dgm:spPr/>
      <dgm:t>
        <a:bodyPr/>
        <a:lstStyle/>
        <a:p>
          <a:endParaRPr lang="en-US"/>
        </a:p>
      </dgm:t>
    </dgm:pt>
    <dgm:pt modelId="{9B06BE74-86B1-4217-A99D-68105ACFBA49}" type="sibTrans" cxnId="{CAEC81DE-44FF-4E82-92E4-034519DA2542}">
      <dgm:prSet/>
      <dgm:spPr/>
      <dgm:t>
        <a:bodyPr/>
        <a:lstStyle/>
        <a:p>
          <a:endParaRPr lang="en-US"/>
        </a:p>
      </dgm:t>
    </dgm:pt>
    <dgm:pt modelId="{1E4AC989-3052-48EE-B1B6-648DE090B242}">
      <dgm:prSet/>
      <dgm:spPr/>
      <dgm:t>
        <a:bodyPr/>
        <a:lstStyle/>
        <a:p>
          <a:r>
            <a:rPr lang="en-US" dirty="0"/>
            <a:t>Program officer</a:t>
          </a:r>
        </a:p>
      </dgm:t>
    </dgm:pt>
    <dgm:pt modelId="{454AD981-8485-4558-AEAD-CDE8C76D27A9}" type="parTrans" cxnId="{9BB3F938-939D-4BD3-80A7-E7DAF98B309E}">
      <dgm:prSet/>
      <dgm:spPr/>
      <dgm:t>
        <a:bodyPr/>
        <a:lstStyle/>
        <a:p>
          <a:endParaRPr lang="en-US"/>
        </a:p>
      </dgm:t>
    </dgm:pt>
    <dgm:pt modelId="{03917B0F-ECE7-4B98-A7BE-4464A0209763}" type="sibTrans" cxnId="{9BB3F938-939D-4BD3-80A7-E7DAF98B309E}">
      <dgm:prSet/>
      <dgm:spPr/>
      <dgm:t>
        <a:bodyPr/>
        <a:lstStyle/>
        <a:p>
          <a:endParaRPr lang="en-US"/>
        </a:p>
      </dgm:t>
    </dgm:pt>
    <dgm:pt modelId="{5DDD8736-3FC7-4A1F-9DCE-CDB64B9E4A9D}">
      <dgm:prSet/>
      <dgm:spPr/>
      <dgm:t>
        <a:bodyPr/>
        <a:lstStyle/>
        <a:p>
          <a:r>
            <a:rPr lang="en-US"/>
            <a:t>Marvellous Olatunji</a:t>
          </a:r>
        </a:p>
      </dgm:t>
    </dgm:pt>
    <dgm:pt modelId="{746F7222-05D4-4C3B-A48A-C5BA82FF9489}" type="parTrans" cxnId="{5842D4EF-7050-4F55-9AAC-8D61DEDD6188}">
      <dgm:prSet/>
      <dgm:spPr/>
      <dgm:t>
        <a:bodyPr/>
        <a:lstStyle/>
        <a:p>
          <a:endParaRPr lang="en-US"/>
        </a:p>
      </dgm:t>
    </dgm:pt>
    <dgm:pt modelId="{75AA561A-228B-4B28-8D82-8E8CDA91592F}" type="sibTrans" cxnId="{5842D4EF-7050-4F55-9AAC-8D61DEDD6188}">
      <dgm:prSet/>
      <dgm:spPr/>
      <dgm:t>
        <a:bodyPr/>
        <a:lstStyle/>
        <a:p>
          <a:endParaRPr lang="en-US"/>
        </a:p>
      </dgm:t>
    </dgm:pt>
    <dgm:pt modelId="{9F1F9012-9DD6-41B0-AEB1-87B49876B7D5}">
      <dgm:prSet/>
      <dgm:spPr/>
      <dgm:t>
        <a:bodyPr/>
        <a:lstStyle/>
        <a:p>
          <a:r>
            <a:rPr lang="en-US"/>
            <a:t>MEAL Officer/Focal person for NHCF</a:t>
          </a:r>
        </a:p>
      </dgm:t>
    </dgm:pt>
    <dgm:pt modelId="{447AA17D-C850-48BE-8A0F-4E4DE2B7973C}" type="parTrans" cxnId="{01D3DDEC-8557-483B-B698-19F97FFA8833}">
      <dgm:prSet/>
      <dgm:spPr/>
      <dgm:t>
        <a:bodyPr/>
        <a:lstStyle/>
        <a:p>
          <a:endParaRPr lang="en-US"/>
        </a:p>
      </dgm:t>
    </dgm:pt>
    <dgm:pt modelId="{AA8F6F3C-BB2F-4248-9F29-12BEAB525E5B}" type="sibTrans" cxnId="{01D3DDEC-8557-483B-B698-19F97FFA8833}">
      <dgm:prSet/>
      <dgm:spPr/>
      <dgm:t>
        <a:bodyPr/>
        <a:lstStyle/>
        <a:p>
          <a:endParaRPr lang="en-US"/>
        </a:p>
      </dgm:t>
    </dgm:pt>
    <dgm:pt modelId="{312795F5-A766-47E5-9F2D-A14E062EDD3F}">
      <dgm:prSet/>
      <dgm:spPr/>
      <dgm:t>
        <a:bodyPr/>
        <a:lstStyle/>
        <a:p>
          <a:r>
            <a:rPr lang="en-US"/>
            <a:t>Adeolu Adegbemile</a:t>
          </a:r>
        </a:p>
      </dgm:t>
    </dgm:pt>
    <dgm:pt modelId="{265A58DA-1958-4FC7-A49B-BE6D68E8ECD7}" type="parTrans" cxnId="{487CC43C-E4E5-4BC1-8BE5-452F39756A31}">
      <dgm:prSet/>
      <dgm:spPr/>
      <dgm:t>
        <a:bodyPr/>
        <a:lstStyle/>
        <a:p>
          <a:endParaRPr lang="en-US"/>
        </a:p>
      </dgm:t>
    </dgm:pt>
    <dgm:pt modelId="{4C9EAE6E-3F52-4114-918F-DD9FF69479E9}" type="sibTrans" cxnId="{487CC43C-E4E5-4BC1-8BE5-452F39756A31}">
      <dgm:prSet/>
      <dgm:spPr/>
      <dgm:t>
        <a:bodyPr/>
        <a:lstStyle/>
        <a:p>
          <a:endParaRPr lang="en-US"/>
        </a:p>
      </dgm:t>
    </dgm:pt>
    <dgm:pt modelId="{86C24F3F-E93A-41B2-B6EA-93C40890C604}">
      <dgm:prSet/>
      <dgm:spPr/>
      <dgm:t>
        <a:bodyPr/>
        <a:lstStyle/>
        <a:p>
          <a:r>
            <a:rPr lang="en-US"/>
            <a:t>Nutrition Policy Analyst</a:t>
          </a:r>
        </a:p>
      </dgm:t>
    </dgm:pt>
    <dgm:pt modelId="{8CE72BF5-D547-4D24-B207-B08BE79A9FDC}" type="parTrans" cxnId="{E3B3FEFD-2A09-47D5-B1C8-7352A66ACD49}">
      <dgm:prSet/>
      <dgm:spPr/>
      <dgm:t>
        <a:bodyPr/>
        <a:lstStyle/>
        <a:p>
          <a:endParaRPr lang="en-US"/>
        </a:p>
      </dgm:t>
    </dgm:pt>
    <dgm:pt modelId="{FC20D857-CB3C-4B78-AA2F-E4972E0C0293}" type="sibTrans" cxnId="{E3B3FEFD-2A09-47D5-B1C8-7352A66ACD49}">
      <dgm:prSet/>
      <dgm:spPr/>
      <dgm:t>
        <a:bodyPr/>
        <a:lstStyle/>
        <a:p>
          <a:endParaRPr lang="en-US"/>
        </a:p>
      </dgm:t>
    </dgm:pt>
    <dgm:pt modelId="{2BEC7DF7-9177-49B1-AC06-45C64DB19B0A}">
      <dgm:prSet/>
      <dgm:spPr/>
      <dgm:t>
        <a:bodyPr/>
        <a:lstStyle/>
        <a:p>
          <a:r>
            <a:rPr lang="en-US"/>
            <a:t>Chidinma Ezenwa</a:t>
          </a:r>
        </a:p>
      </dgm:t>
    </dgm:pt>
    <dgm:pt modelId="{6E87AF0D-A092-4869-9B7C-F411078A1972}" type="parTrans" cxnId="{8870C2F3-E2D9-4511-9332-C179231CC91F}">
      <dgm:prSet/>
      <dgm:spPr/>
      <dgm:t>
        <a:bodyPr/>
        <a:lstStyle/>
        <a:p>
          <a:endParaRPr lang="en-US"/>
        </a:p>
      </dgm:t>
    </dgm:pt>
    <dgm:pt modelId="{ECCB76E3-6735-49CE-ABB5-55474AB2C2D1}" type="sibTrans" cxnId="{8870C2F3-E2D9-4511-9332-C179231CC91F}">
      <dgm:prSet/>
      <dgm:spPr/>
      <dgm:t>
        <a:bodyPr/>
        <a:lstStyle/>
        <a:p>
          <a:endParaRPr lang="en-US"/>
        </a:p>
      </dgm:t>
    </dgm:pt>
    <dgm:pt modelId="{65CED8F5-CFE1-4D0E-9BBA-D315D22D1597}">
      <dgm:prSet/>
      <dgm:spPr/>
      <dgm:t>
        <a:bodyPr/>
        <a:lstStyle/>
        <a:p>
          <a:r>
            <a:rPr lang="en-US"/>
            <a:t>Nutrition Policy Advisor</a:t>
          </a:r>
        </a:p>
      </dgm:t>
    </dgm:pt>
    <dgm:pt modelId="{C9DF193D-4092-4D62-A2C1-BD1BC0B24BD8}" type="parTrans" cxnId="{EE6C4249-734F-46AD-B1ED-DE6E47ED59D8}">
      <dgm:prSet/>
      <dgm:spPr/>
      <dgm:t>
        <a:bodyPr/>
        <a:lstStyle/>
        <a:p>
          <a:endParaRPr lang="en-US"/>
        </a:p>
      </dgm:t>
    </dgm:pt>
    <dgm:pt modelId="{CDCF3234-E055-4333-ADB8-076AD24F86C3}" type="sibTrans" cxnId="{EE6C4249-734F-46AD-B1ED-DE6E47ED59D8}">
      <dgm:prSet/>
      <dgm:spPr/>
      <dgm:t>
        <a:bodyPr/>
        <a:lstStyle/>
        <a:p>
          <a:endParaRPr lang="en-US"/>
        </a:p>
      </dgm:t>
    </dgm:pt>
    <dgm:pt modelId="{16F5EFDF-F91A-4183-836B-6BDB77388D9D}">
      <dgm:prSet/>
      <dgm:spPr/>
      <dgm:t>
        <a:bodyPr/>
        <a:lstStyle/>
        <a:p>
          <a:r>
            <a:rPr lang="en-US" dirty="0" err="1"/>
            <a:t>Abdulrasak</a:t>
          </a:r>
          <a:r>
            <a:rPr lang="en-US" dirty="0"/>
            <a:t> Are</a:t>
          </a:r>
        </a:p>
      </dgm:t>
    </dgm:pt>
    <dgm:pt modelId="{E30D71CD-6AEB-43DC-89E7-6CCBA5D79A61}" type="parTrans" cxnId="{4A83006F-9826-4287-A8B8-A57342D9C6BE}">
      <dgm:prSet/>
      <dgm:spPr/>
      <dgm:t>
        <a:bodyPr/>
        <a:lstStyle/>
        <a:p>
          <a:endParaRPr lang="en-US"/>
        </a:p>
      </dgm:t>
    </dgm:pt>
    <dgm:pt modelId="{894F0612-3A2D-40F6-BC99-FF2B593FEEA8}" type="sibTrans" cxnId="{4A83006F-9826-4287-A8B8-A57342D9C6BE}">
      <dgm:prSet/>
      <dgm:spPr/>
      <dgm:t>
        <a:bodyPr/>
        <a:lstStyle/>
        <a:p>
          <a:endParaRPr lang="en-US"/>
        </a:p>
      </dgm:t>
    </dgm:pt>
    <dgm:pt modelId="{F680B5F8-3751-4246-B9D2-4B524C2ADCDC}">
      <dgm:prSet/>
      <dgm:spPr/>
      <dgm:t>
        <a:bodyPr/>
        <a:lstStyle/>
        <a:p>
          <a:r>
            <a:rPr lang="en-US" dirty="0"/>
            <a:t>Dr Fatima Kumo</a:t>
          </a:r>
        </a:p>
      </dgm:t>
    </dgm:pt>
    <dgm:pt modelId="{2D178844-07FB-43DD-A730-74F6CFBA54EE}" type="parTrans" cxnId="{BDC71D5B-A4D8-4FBE-AD01-673877787509}">
      <dgm:prSet/>
      <dgm:spPr/>
      <dgm:t>
        <a:bodyPr/>
        <a:lstStyle/>
        <a:p>
          <a:endParaRPr lang="en-US"/>
        </a:p>
      </dgm:t>
    </dgm:pt>
    <dgm:pt modelId="{E83134D4-6F93-48B8-9AC1-3F57DDC5FB38}" type="sibTrans" cxnId="{BDC71D5B-A4D8-4FBE-AD01-673877787509}">
      <dgm:prSet/>
      <dgm:spPr/>
      <dgm:t>
        <a:bodyPr/>
        <a:lstStyle/>
        <a:p>
          <a:endParaRPr lang="en-US"/>
        </a:p>
      </dgm:t>
    </dgm:pt>
    <dgm:pt modelId="{CBF44B48-57FB-407A-9AAE-69E8D95610C1}">
      <dgm:prSet/>
      <dgm:spPr/>
      <dgm:t>
        <a:bodyPr/>
        <a:lstStyle/>
        <a:p>
          <a:r>
            <a:rPr lang="en-US" dirty="0"/>
            <a:t>Intern</a:t>
          </a:r>
        </a:p>
      </dgm:t>
    </dgm:pt>
    <dgm:pt modelId="{408B49F1-CE11-4A37-A12E-AAFC3C4CF58E}" type="parTrans" cxnId="{7B19B94E-DE54-439B-8BB6-3079DA50759D}">
      <dgm:prSet/>
      <dgm:spPr/>
      <dgm:t>
        <a:bodyPr/>
        <a:lstStyle/>
        <a:p>
          <a:endParaRPr lang="en-NG"/>
        </a:p>
      </dgm:t>
    </dgm:pt>
    <dgm:pt modelId="{D0C81ADE-FAED-4A50-B8A8-F6F70BE8226E}" type="sibTrans" cxnId="{7B19B94E-DE54-439B-8BB6-3079DA50759D}">
      <dgm:prSet/>
      <dgm:spPr/>
      <dgm:t>
        <a:bodyPr/>
        <a:lstStyle/>
        <a:p>
          <a:endParaRPr lang="en-NG"/>
        </a:p>
      </dgm:t>
    </dgm:pt>
    <dgm:pt modelId="{930D0101-9425-43FA-AD27-FF855B71527A}">
      <dgm:prSet/>
      <dgm:spPr/>
      <dgm:t>
        <a:bodyPr/>
        <a:lstStyle/>
        <a:p>
          <a:r>
            <a:rPr lang="en-US" dirty="0"/>
            <a:t>Polio Focal point</a:t>
          </a:r>
        </a:p>
      </dgm:t>
    </dgm:pt>
    <dgm:pt modelId="{D58F3CDB-D8A3-484A-883D-875F4394A193}" type="parTrans" cxnId="{2D7CE13D-F173-487A-B6C6-2DC7511F1953}">
      <dgm:prSet/>
      <dgm:spPr/>
      <dgm:t>
        <a:bodyPr/>
        <a:lstStyle/>
        <a:p>
          <a:endParaRPr lang="en-NG"/>
        </a:p>
      </dgm:t>
    </dgm:pt>
    <dgm:pt modelId="{644DB545-DF0C-4A5F-910F-D5C4E7825A4B}" type="sibTrans" cxnId="{2D7CE13D-F173-487A-B6C6-2DC7511F1953}">
      <dgm:prSet/>
      <dgm:spPr/>
      <dgm:t>
        <a:bodyPr/>
        <a:lstStyle/>
        <a:p>
          <a:endParaRPr lang="en-NG"/>
        </a:p>
      </dgm:t>
    </dgm:pt>
    <dgm:pt modelId="{5D6E5BA1-0368-4B65-B6AB-D4CA7B6C5385}" type="pres">
      <dgm:prSet presAssocID="{531CE997-49F4-43B3-A5C0-16750D934E6A}" presName="diagram" presStyleCnt="0">
        <dgm:presLayoutVars>
          <dgm:dir/>
          <dgm:resizeHandles val="exact"/>
        </dgm:presLayoutVars>
      </dgm:prSet>
      <dgm:spPr/>
    </dgm:pt>
    <dgm:pt modelId="{9F809BEA-B26A-427E-A2A2-E0A84CA5AD35}" type="pres">
      <dgm:prSet presAssocID="{3D911586-8181-4EFC-AB46-6AC09FC7F7DA}" presName="node" presStyleLbl="node1" presStyleIdx="0" presStyleCnt="9">
        <dgm:presLayoutVars>
          <dgm:bulletEnabled val="1"/>
        </dgm:presLayoutVars>
      </dgm:prSet>
      <dgm:spPr/>
    </dgm:pt>
    <dgm:pt modelId="{2AA39D47-BB2B-4238-9892-62C7BEB7C810}" type="pres">
      <dgm:prSet presAssocID="{68BD3D44-CEC7-4CD6-B942-0B4E4BB66265}" presName="sibTrans" presStyleCnt="0"/>
      <dgm:spPr/>
    </dgm:pt>
    <dgm:pt modelId="{CFA6E101-D7E0-452B-A5AB-FACD49D3BFD3}" type="pres">
      <dgm:prSet presAssocID="{32F6650B-B47B-4526-A51F-3FF218304704}" presName="node" presStyleLbl="node1" presStyleIdx="1" presStyleCnt="9">
        <dgm:presLayoutVars>
          <dgm:bulletEnabled val="1"/>
        </dgm:presLayoutVars>
      </dgm:prSet>
      <dgm:spPr/>
    </dgm:pt>
    <dgm:pt modelId="{19041833-CFD8-4A51-8ABF-1ECD42A310BE}" type="pres">
      <dgm:prSet presAssocID="{F5E17EA2-97D9-451F-8E7F-15B3BD6E673D}" presName="sibTrans" presStyleCnt="0"/>
      <dgm:spPr/>
    </dgm:pt>
    <dgm:pt modelId="{1FC1F590-A572-43D4-85DA-3A17D6A6A6D5}" type="pres">
      <dgm:prSet presAssocID="{C60E48E8-4E11-4A7E-B2DE-37DE0FED75E4}" presName="node" presStyleLbl="node1" presStyleIdx="2" presStyleCnt="9">
        <dgm:presLayoutVars>
          <dgm:bulletEnabled val="1"/>
        </dgm:presLayoutVars>
      </dgm:prSet>
      <dgm:spPr/>
    </dgm:pt>
    <dgm:pt modelId="{7CB3A75D-4ED9-4DFC-9820-E6D60C030883}" type="pres">
      <dgm:prSet presAssocID="{BD9EA790-BAEF-4994-A71C-2A2B1362BC54}" presName="sibTrans" presStyleCnt="0"/>
      <dgm:spPr/>
    </dgm:pt>
    <dgm:pt modelId="{B8BB311E-8116-44C9-9B9B-03F9591F826C}" type="pres">
      <dgm:prSet presAssocID="{5E94EA85-0820-4994-981F-3A28F2529C84}" presName="node" presStyleLbl="node1" presStyleIdx="3" presStyleCnt="9">
        <dgm:presLayoutVars>
          <dgm:bulletEnabled val="1"/>
        </dgm:presLayoutVars>
      </dgm:prSet>
      <dgm:spPr/>
    </dgm:pt>
    <dgm:pt modelId="{4F9047C4-AB98-4CFB-AA85-F789D8F725CA}" type="pres">
      <dgm:prSet presAssocID="{9B06BE74-86B1-4217-A99D-68105ACFBA49}" presName="sibTrans" presStyleCnt="0"/>
      <dgm:spPr/>
    </dgm:pt>
    <dgm:pt modelId="{3DE8F01B-B41B-4738-B971-3D7A13A4BB7E}" type="pres">
      <dgm:prSet presAssocID="{5DDD8736-3FC7-4A1F-9DCE-CDB64B9E4A9D}" presName="node" presStyleLbl="node1" presStyleIdx="4" presStyleCnt="9">
        <dgm:presLayoutVars>
          <dgm:bulletEnabled val="1"/>
        </dgm:presLayoutVars>
      </dgm:prSet>
      <dgm:spPr/>
    </dgm:pt>
    <dgm:pt modelId="{3F642907-5DEA-4571-BF02-AB097CEBB397}" type="pres">
      <dgm:prSet presAssocID="{75AA561A-228B-4B28-8D82-8E8CDA91592F}" presName="sibTrans" presStyleCnt="0"/>
      <dgm:spPr/>
    </dgm:pt>
    <dgm:pt modelId="{7F301B09-004C-4B29-8507-73FF9B081204}" type="pres">
      <dgm:prSet presAssocID="{312795F5-A766-47E5-9F2D-A14E062EDD3F}" presName="node" presStyleLbl="node1" presStyleIdx="5" presStyleCnt="9">
        <dgm:presLayoutVars>
          <dgm:bulletEnabled val="1"/>
        </dgm:presLayoutVars>
      </dgm:prSet>
      <dgm:spPr/>
    </dgm:pt>
    <dgm:pt modelId="{9F437C3F-3A75-43B2-83CF-4C0AC0B8D7DA}" type="pres">
      <dgm:prSet presAssocID="{4C9EAE6E-3F52-4114-918F-DD9FF69479E9}" presName="sibTrans" presStyleCnt="0"/>
      <dgm:spPr/>
    </dgm:pt>
    <dgm:pt modelId="{62453333-8AE8-4E48-906A-DCE3F372B80E}" type="pres">
      <dgm:prSet presAssocID="{2BEC7DF7-9177-49B1-AC06-45C64DB19B0A}" presName="node" presStyleLbl="node1" presStyleIdx="6" presStyleCnt="9">
        <dgm:presLayoutVars>
          <dgm:bulletEnabled val="1"/>
        </dgm:presLayoutVars>
      </dgm:prSet>
      <dgm:spPr/>
    </dgm:pt>
    <dgm:pt modelId="{39FE72FE-B608-4B4B-95E2-3253AA20CC91}" type="pres">
      <dgm:prSet presAssocID="{ECCB76E3-6735-49CE-ABB5-55474AB2C2D1}" presName="sibTrans" presStyleCnt="0"/>
      <dgm:spPr/>
    </dgm:pt>
    <dgm:pt modelId="{6DBF53C6-D214-44BC-8612-E3C57F1144A9}" type="pres">
      <dgm:prSet presAssocID="{16F5EFDF-F91A-4183-836B-6BDB77388D9D}" presName="node" presStyleLbl="node1" presStyleIdx="7" presStyleCnt="9">
        <dgm:presLayoutVars>
          <dgm:bulletEnabled val="1"/>
        </dgm:presLayoutVars>
      </dgm:prSet>
      <dgm:spPr/>
    </dgm:pt>
    <dgm:pt modelId="{9968B1F0-FD95-4C94-BA48-17E5417D4BC3}" type="pres">
      <dgm:prSet presAssocID="{894F0612-3A2D-40F6-BC99-FF2B593FEEA8}" presName="sibTrans" presStyleCnt="0"/>
      <dgm:spPr/>
    </dgm:pt>
    <dgm:pt modelId="{3C268754-B594-40EB-864F-E69E80460640}" type="pres">
      <dgm:prSet presAssocID="{F680B5F8-3751-4246-B9D2-4B524C2ADCDC}" presName="node" presStyleLbl="node1" presStyleIdx="8" presStyleCnt="9">
        <dgm:presLayoutVars>
          <dgm:bulletEnabled val="1"/>
        </dgm:presLayoutVars>
      </dgm:prSet>
      <dgm:spPr/>
    </dgm:pt>
  </dgm:ptLst>
  <dgm:cxnLst>
    <dgm:cxn modelId="{628F3104-51F7-48CF-9DB1-8A75B868FDE5}" type="presOf" srcId="{32F6650B-B47B-4526-A51F-3FF218304704}" destId="{CFA6E101-D7E0-452B-A5AB-FACD49D3BFD3}" srcOrd="0" destOrd="0" presId="urn:microsoft.com/office/officeart/2005/8/layout/default"/>
    <dgm:cxn modelId="{286FB110-2360-46C6-9C7A-4E80F7645F4B}" type="presOf" srcId="{86C24F3F-E93A-41B2-B6EA-93C40890C604}" destId="{7F301B09-004C-4B29-8507-73FF9B081204}" srcOrd="0" destOrd="1" presId="urn:microsoft.com/office/officeart/2005/8/layout/default"/>
    <dgm:cxn modelId="{9FB38E12-D11F-42DD-A786-47AC55C9455E}" type="presOf" srcId="{531CE997-49F4-43B3-A5C0-16750D934E6A}" destId="{5D6E5BA1-0368-4B65-B6AB-D4CA7B6C5385}" srcOrd="0" destOrd="0" presId="urn:microsoft.com/office/officeart/2005/8/layout/default"/>
    <dgm:cxn modelId="{AC0E961B-3D17-4519-BC92-3B8474779127}" type="presOf" srcId="{965F15CB-9473-4D4A-A9A0-07BD0DCD7072}" destId="{CFA6E101-D7E0-452B-A5AB-FACD49D3BFD3}" srcOrd="0" destOrd="1" presId="urn:microsoft.com/office/officeart/2005/8/layout/default"/>
    <dgm:cxn modelId="{8013A835-5BBD-4F35-AF52-CA4314889C3B}" type="presOf" srcId="{793FBB61-8852-42A2-8D82-70054DD011DD}" destId="{9F809BEA-B26A-427E-A2A2-E0A84CA5AD35}" srcOrd="0" destOrd="1" presId="urn:microsoft.com/office/officeart/2005/8/layout/default"/>
    <dgm:cxn modelId="{9BB3F938-939D-4BD3-80A7-E7DAF98B309E}" srcId="{5E94EA85-0820-4994-981F-3A28F2529C84}" destId="{1E4AC989-3052-48EE-B1B6-648DE090B242}" srcOrd="0" destOrd="0" parTransId="{454AD981-8485-4558-AEAD-CDE8C76D27A9}" sibTransId="{03917B0F-ECE7-4B98-A7BE-4464A0209763}"/>
    <dgm:cxn modelId="{487CC43C-E4E5-4BC1-8BE5-452F39756A31}" srcId="{531CE997-49F4-43B3-A5C0-16750D934E6A}" destId="{312795F5-A766-47E5-9F2D-A14E062EDD3F}" srcOrd="5" destOrd="0" parTransId="{265A58DA-1958-4FC7-A49B-BE6D68E8ECD7}" sibTransId="{4C9EAE6E-3F52-4114-918F-DD9FF69479E9}"/>
    <dgm:cxn modelId="{2D7CE13D-F173-487A-B6C6-2DC7511F1953}" srcId="{F680B5F8-3751-4246-B9D2-4B524C2ADCDC}" destId="{930D0101-9425-43FA-AD27-FF855B71527A}" srcOrd="0" destOrd="0" parTransId="{D58F3CDB-D8A3-484A-883D-875F4394A193}" sibTransId="{644DB545-DF0C-4A5F-910F-D5C4E7825A4B}"/>
    <dgm:cxn modelId="{BDC71D5B-A4D8-4FBE-AD01-673877787509}" srcId="{531CE997-49F4-43B3-A5C0-16750D934E6A}" destId="{F680B5F8-3751-4246-B9D2-4B524C2ADCDC}" srcOrd="8" destOrd="0" parTransId="{2D178844-07FB-43DD-A730-74F6CFBA54EE}" sibTransId="{E83134D4-6F93-48B8-9AC1-3F57DDC5FB38}"/>
    <dgm:cxn modelId="{0FD51861-675B-44E6-AB85-9D213B65C457}" type="presOf" srcId="{16F5EFDF-F91A-4183-836B-6BDB77388D9D}" destId="{6DBF53C6-D214-44BC-8612-E3C57F1144A9}" srcOrd="0" destOrd="0" presId="urn:microsoft.com/office/officeart/2005/8/layout/default"/>
    <dgm:cxn modelId="{C9A2C161-AC29-4EF4-BE4B-0A252793F99B}" type="presOf" srcId="{5DDD8736-3FC7-4A1F-9DCE-CDB64B9E4A9D}" destId="{3DE8F01B-B41B-4738-B971-3D7A13A4BB7E}" srcOrd="0" destOrd="0" presId="urn:microsoft.com/office/officeart/2005/8/layout/default"/>
    <dgm:cxn modelId="{1E64E068-9A1E-4258-BE32-BDA57491D475}" type="presOf" srcId="{2BEC7DF7-9177-49B1-AC06-45C64DB19B0A}" destId="{62453333-8AE8-4E48-906A-DCE3F372B80E}" srcOrd="0" destOrd="0" presId="urn:microsoft.com/office/officeart/2005/8/layout/default"/>
    <dgm:cxn modelId="{EE6C4249-734F-46AD-B1ED-DE6E47ED59D8}" srcId="{2BEC7DF7-9177-49B1-AC06-45C64DB19B0A}" destId="{65CED8F5-CFE1-4D0E-9BBA-D315D22D1597}" srcOrd="0" destOrd="0" parTransId="{C9DF193D-4092-4D62-A2C1-BD1BC0B24BD8}" sibTransId="{CDCF3234-E055-4333-ADB8-076AD24F86C3}"/>
    <dgm:cxn modelId="{3FDE254B-6FC9-4D60-8D05-DD53315C5EFD}" type="presOf" srcId="{9F1F9012-9DD6-41B0-AEB1-87B49876B7D5}" destId="{3DE8F01B-B41B-4738-B971-3D7A13A4BB7E}" srcOrd="0" destOrd="1" presId="urn:microsoft.com/office/officeart/2005/8/layout/default"/>
    <dgm:cxn modelId="{1CF3FB4D-5C91-4FA9-8A20-AE28EE753117}" type="presOf" srcId="{1E4AC989-3052-48EE-B1B6-648DE090B242}" destId="{B8BB311E-8116-44C9-9B9B-03F9591F826C}" srcOrd="0" destOrd="1" presId="urn:microsoft.com/office/officeart/2005/8/layout/default"/>
    <dgm:cxn modelId="{7B19B94E-DE54-439B-8BB6-3079DA50759D}" srcId="{16F5EFDF-F91A-4183-836B-6BDB77388D9D}" destId="{CBF44B48-57FB-407A-9AAE-69E8D95610C1}" srcOrd="0" destOrd="0" parTransId="{408B49F1-CE11-4A37-A12E-AAFC3C4CF58E}" sibTransId="{D0C81ADE-FAED-4A50-B8A8-F6F70BE8226E}"/>
    <dgm:cxn modelId="{4A83006F-9826-4287-A8B8-A57342D9C6BE}" srcId="{531CE997-49F4-43B3-A5C0-16750D934E6A}" destId="{16F5EFDF-F91A-4183-836B-6BDB77388D9D}" srcOrd="7" destOrd="0" parTransId="{E30D71CD-6AEB-43DC-89E7-6CCBA5D79A61}" sibTransId="{894F0612-3A2D-40F6-BC99-FF2B593FEEA8}"/>
    <dgm:cxn modelId="{AA0F1659-EEE2-4E77-888F-9AE483A53720}" type="presOf" srcId="{C60E48E8-4E11-4A7E-B2DE-37DE0FED75E4}" destId="{1FC1F590-A572-43D4-85DA-3A17D6A6A6D5}" srcOrd="0" destOrd="0" presId="urn:microsoft.com/office/officeart/2005/8/layout/default"/>
    <dgm:cxn modelId="{CD1E8682-EAA8-46D5-8C6C-DDE42E74C67F}" type="presOf" srcId="{CBF44B48-57FB-407A-9AAE-69E8D95610C1}" destId="{6DBF53C6-D214-44BC-8612-E3C57F1144A9}" srcOrd="0" destOrd="1" presId="urn:microsoft.com/office/officeart/2005/8/layout/default"/>
    <dgm:cxn modelId="{5A89B982-C71D-4B75-BA24-D55897A70591}" srcId="{531CE997-49F4-43B3-A5C0-16750D934E6A}" destId="{3D911586-8181-4EFC-AB46-6AC09FC7F7DA}" srcOrd="0" destOrd="0" parTransId="{3110DE0E-45ED-4587-B751-1A21F15E1C71}" sibTransId="{68BD3D44-CEC7-4CD6-B942-0B4E4BB66265}"/>
    <dgm:cxn modelId="{A535A184-BA29-490A-A70D-D26707296D0D}" srcId="{3D911586-8181-4EFC-AB46-6AC09FC7F7DA}" destId="{793FBB61-8852-42A2-8D82-70054DD011DD}" srcOrd="0" destOrd="0" parTransId="{BCDF924E-CF10-4E17-A098-217FBA46D311}" sibTransId="{A7EAFB76-FC90-4FFD-8A83-F40F43C73EA5}"/>
    <dgm:cxn modelId="{1CEF0197-A8B4-49F2-B4A5-EB8F9E7A9086}" type="presOf" srcId="{930D0101-9425-43FA-AD27-FF855B71527A}" destId="{3C268754-B594-40EB-864F-E69E80460640}" srcOrd="0" destOrd="1" presId="urn:microsoft.com/office/officeart/2005/8/layout/default"/>
    <dgm:cxn modelId="{9207F79A-86B5-4ABD-83EE-4A61B811431D}" type="presOf" srcId="{312795F5-A766-47E5-9F2D-A14E062EDD3F}" destId="{7F301B09-004C-4B29-8507-73FF9B081204}" srcOrd="0" destOrd="0" presId="urn:microsoft.com/office/officeart/2005/8/layout/default"/>
    <dgm:cxn modelId="{EA9594A2-B125-4EDA-967A-6CAF6A5A4C7B}" type="presOf" srcId="{F680B5F8-3751-4246-B9D2-4B524C2ADCDC}" destId="{3C268754-B594-40EB-864F-E69E80460640}" srcOrd="0" destOrd="0" presId="urn:microsoft.com/office/officeart/2005/8/layout/default"/>
    <dgm:cxn modelId="{A2901FB1-32DB-4726-9278-D80C091E0FD4}" type="presOf" srcId="{65CED8F5-CFE1-4D0E-9BBA-D315D22D1597}" destId="{62453333-8AE8-4E48-906A-DCE3F372B80E}" srcOrd="0" destOrd="1" presId="urn:microsoft.com/office/officeart/2005/8/layout/default"/>
    <dgm:cxn modelId="{63444AB4-B587-45CA-B739-E33CCF7FABFF}" type="presOf" srcId="{3D103DD4-DB94-4B50-935E-36E2E1F79E92}" destId="{1FC1F590-A572-43D4-85DA-3A17D6A6A6D5}" srcOrd="0" destOrd="1" presId="urn:microsoft.com/office/officeart/2005/8/layout/default"/>
    <dgm:cxn modelId="{69C6BCC0-1135-48BD-BD85-CD6138395126}" srcId="{531CE997-49F4-43B3-A5C0-16750D934E6A}" destId="{32F6650B-B47B-4526-A51F-3FF218304704}" srcOrd="1" destOrd="0" parTransId="{3A9D4CD9-3BA7-4607-A0DB-BB3056D0EF9B}" sibTransId="{F5E17EA2-97D9-451F-8E7F-15B3BD6E673D}"/>
    <dgm:cxn modelId="{7957D3C0-D189-465A-BD28-08510735B072}" type="presOf" srcId="{3D911586-8181-4EFC-AB46-6AC09FC7F7DA}" destId="{9F809BEA-B26A-427E-A2A2-E0A84CA5AD35}" srcOrd="0" destOrd="0" presId="urn:microsoft.com/office/officeart/2005/8/layout/default"/>
    <dgm:cxn modelId="{96D8DFC3-56A8-411C-B998-EFD3F9A1E862}" srcId="{531CE997-49F4-43B3-A5C0-16750D934E6A}" destId="{C60E48E8-4E11-4A7E-B2DE-37DE0FED75E4}" srcOrd="2" destOrd="0" parTransId="{0E31FFEF-075C-44FB-BF55-BEEB28BFC1DB}" sibTransId="{BD9EA790-BAEF-4994-A71C-2A2B1362BC54}"/>
    <dgm:cxn modelId="{52B82AD4-FD6D-421C-AF0B-9A9AA18B643A}" srcId="{32F6650B-B47B-4526-A51F-3FF218304704}" destId="{965F15CB-9473-4D4A-A9A0-07BD0DCD7072}" srcOrd="0" destOrd="0" parTransId="{E2A8C192-3EB3-4138-A12C-102C3073184B}" sibTransId="{F5418F94-FF51-4BEC-845F-0E765AE5B867}"/>
    <dgm:cxn modelId="{FD29E3DC-6D7F-4DF9-8FE7-34DBB96DE76F}" srcId="{C60E48E8-4E11-4A7E-B2DE-37DE0FED75E4}" destId="{3D103DD4-DB94-4B50-935E-36E2E1F79E92}" srcOrd="0" destOrd="0" parTransId="{8F4A95EC-2A7C-41B3-887F-994C39CCBEF4}" sibTransId="{82FA90CF-A2CC-496D-8295-A68DE2CB97DA}"/>
    <dgm:cxn modelId="{CAEC81DE-44FF-4E82-92E4-034519DA2542}" srcId="{531CE997-49F4-43B3-A5C0-16750D934E6A}" destId="{5E94EA85-0820-4994-981F-3A28F2529C84}" srcOrd="3" destOrd="0" parTransId="{DD66073C-CE83-4E5C-8D3D-AE58FC15FEBF}" sibTransId="{9B06BE74-86B1-4217-A99D-68105ACFBA49}"/>
    <dgm:cxn modelId="{01D3DDEC-8557-483B-B698-19F97FFA8833}" srcId="{5DDD8736-3FC7-4A1F-9DCE-CDB64B9E4A9D}" destId="{9F1F9012-9DD6-41B0-AEB1-87B49876B7D5}" srcOrd="0" destOrd="0" parTransId="{447AA17D-C850-48BE-8A0F-4E4DE2B7973C}" sibTransId="{AA8F6F3C-BB2F-4248-9F29-12BEAB525E5B}"/>
    <dgm:cxn modelId="{5842D4EF-7050-4F55-9AAC-8D61DEDD6188}" srcId="{531CE997-49F4-43B3-A5C0-16750D934E6A}" destId="{5DDD8736-3FC7-4A1F-9DCE-CDB64B9E4A9D}" srcOrd="4" destOrd="0" parTransId="{746F7222-05D4-4C3B-A48A-C5BA82FF9489}" sibTransId="{75AA561A-228B-4B28-8D82-8E8CDA91592F}"/>
    <dgm:cxn modelId="{8870C2F3-E2D9-4511-9332-C179231CC91F}" srcId="{531CE997-49F4-43B3-A5C0-16750D934E6A}" destId="{2BEC7DF7-9177-49B1-AC06-45C64DB19B0A}" srcOrd="6" destOrd="0" parTransId="{6E87AF0D-A092-4869-9B7C-F411078A1972}" sibTransId="{ECCB76E3-6735-49CE-ABB5-55474AB2C2D1}"/>
    <dgm:cxn modelId="{2E35D7F3-BA8D-42D0-AAC1-0F46E251DC5E}" type="presOf" srcId="{5E94EA85-0820-4994-981F-3A28F2529C84}" destId="{B8BB311E-8116-44C9-9B9B-03F9591F826C}" srcOrd="0" destOrd="0" presId="urn:microsoft.com/office/officeart/2005/8/layout/default"/>
    <dgm:cxn modelId="{E3B3FEFD-2A09-47D5-B1C8-7352A66ACD49}" srcId="{312795F5-A766-47E5-9F2D-A14E062EDD3F}" destId="{86C24F3F-E93A-41B2-B6EA-93C40890C604}" srcOrd="0" destOrd="0" parTransId="{8CE72BF5-D547-4D24-B207-B08BE79A9FDC}" sibTransId="{FC20D857-CB3C-4B78-AA2F-E4972E0C0293}"/>
    <dgm:cxn modelId="{E2ECFBEC-22DF-4AB3-9101-299554AFBB21}" type="presParOf" srcId="{5D6E5BA1-0368-4B65-B6AB-D4CA7B6C5385}" destId="{9F809BEA-B26A-427E-A2A2-E0A84CA5AD35}" srcOrd="0" destOrd="0" presId="urn:microsoft.com/office/officeart/2005/8/layout/default"/>
    <dgm:cxn modelId="{ECDCB539-ED59-4366-94D3-BB7C69847E4A}" type="presParOf" srcId="{5D6E5BA1-0368-4B65-B6AB-D4CA7B6C5385}" destId="{2AA39D47-BB2B-4238-9892-62C7BEB7C810}" srcOrd="1" destOrd="0" presId="urn:microsoft.com/office/officeart/2005/8/layout/default"/>
    <dgm:cxn modelId="{63C387D1-F6A0-43F9-9C26-8BF3F768FB49}" type="presParOf" srcId="{5D6E5BA1-0368-4B65-B6AB-D4CA7B6C5385}" destId="{CFA6E101-D7E0-452B-A5AB-FACD49D3BFD3}" srcOrd="2" destOrd="0" presId="urn:microsoft.com/office/officeart/2005/8/layout/default"/>
    <dgm:cxn modelId="{D72FF39B-2BD0-4883-8275-37EEA3B732FE}" type="presParOf" srcId="{5D6E5BA1-0368-4B65-B6AB-D4CA7B6C5385}" destId="{19041833-CFD8-4A51-8ABF-1ECD42A310BE}" srcOrd="3" destOrd="0" presId="urn:microsoft.com/office/officeart/2005/8/layout/default"/>
    <dgm:cxn modelId="{D70B56E2-29FD-4276-8E5C-1077445E24ED}" type="presParOf" srcId="{5D6E5BA1-0368-4B65-B6AB-D4CA7B6C5385}" destId="{1FC1F590-A572-43D4-85DA-3A17D6A6A6D5}" srcOrd="4" destOrd="0" presId="urn:microsoft.com/office/officeart/2005/8/layout/default"/>
    <dgm:cxn modelId="{BF44DB38-BD75-4FA2-A78E-3E9F4B7C1AC5}" type="presParOf" srcId="{5D6E5BA1-0368-4B65-B6AB-D4CA7B6C5385}" destId="{7CB3A75D-4ED9-4DFC-9820-E6D60C030883}" srcOrd="5" destOrd="0" presId="urn:microsoft.com/office/officeart/2005/8/layout/default"/>
    <dgm:cxn modelId="{568BC99E-50DC-41F5-A58C-B2BA049F013B}" type="presParOf" srcId="{5D6E5BA1-0368-4B65-B6AB-D4CA7B6C5385}" destId="{B8BB311E-8116-44C9-9B9B-03F9591F826C}" srcOrd="6" destOrd="0" presId="urn:microsoft.com/office/officeart/2005/8/layout/default"/>
    <dgm:cxn modelId="{87509F7C-18C9-449B-9A2A-5F2571069303}" type="presParOf" srcId="{5D6E5BA1-0368-4B65-B6AB-D4CA7B6C5385}" destId="{4F9047C4-AB98-4CFB-AA85-F789D8F725CA}" srcOrd="7" destOrd="0" presId="urn:microsoft.com/office/officeart/2005/8/layout/default"/>
    <dgm:cxn modelId="{D4410CD7-E5F3-4AF2-9ECD-5404DDAED51A}" type="presParOf" srcId="{5D6E5BA1-0368-4B65-B6AB-D4CA7B6C5385}" destId="{3DE8F01B-B41B-4738-B971-3D7A13A4BB7E}" srcOrd="8" destOrd="0" presId="urn:microsoft.com/office/officeart/2005/8/layout/default"/>
    <dgm:cxn modelId="{948D7F3C-F1E2-4616-A975-E0B5AD349EC1}" type="presParOf" srcId="{5D6E5BA1-0368-4B65-B6AB-D4CA7B6C5385}" destId="{3F642907-5DEA-4571-BF02-AB097CEBB397}" srcOrd="9" destOrd="0" presId="urn:microsoft.com/office/officeart/2005/8/layout/default"/>
    <dgm:cxn modelId="{9D6C34C8-7477-4AE7-A883-C97B6B8C3DE9}" type="presParOf" srcId="{5D6E5BA1-0368-4B65-B6AB-D4CA7B6C5385}" destId="{7F301B09-004C-4B29-8507-73FF9B081204}" srcOrd="10" destOrd="0" presId="urn:microsoft.com/office/officeart/2005/8/layout/default"/>
    <dgm:cxn modelId="{E0A0A082-36D3-4659-8F0C-ADCE8E267425}" type="presParOf" srcId="{5D6E5BA1-0368-4B65-B6AB-D4CA7B6C5385}" destId="{9F437C3F-3A75-43B2-83CF-4C0AC0B8D7DA}" srcOrd="11" destOrd="0" presId="urn:microsoft.com/office/officeart/2005/8/layout/default"/>
    <dgm:cxn modelId="{F18A04C9-C456-4C7C-83D8-D93D18B959E6}" type="presParOf" srcId="{5D6E5BA1-0368-4B65-B6AB-D4CA7B6C5385}" destId="{62453333-8AE8-4E48-906A-DCE3F372B80E}" srcOrd="12" destOrd="0" presId="urn:microsoft.com/office/officeart/2005/8/layout/default"/>
    <dgm:cxn modelId="{62675777-CDEC-4580-AE5B-1850951A602F}" type="presParOf" srcId="{5D6E5BA1-0368-4B65-B6AB-D4CA7B6C5385}" destId="{39FE72FE-B608-4B4B-95E2-3253AA20CC91}" srcOrd="13" destOrd="0" presId="urn:microsoft.com/office/officeart/2005/8/layout/default"/>
    <dgm:cxn modelId="{EC0E535D-54EE-4151-9729-5E724CE359D7}" type="presParOf" srcId="{5D6E5BA1-0368-4B65-B6AB-D4CA7B6C5385}" destId="{6DBF53C6-D214-44BC-8612-E3C57F1144A9}" srcOrd="14" destOrd="0" presId="urn:microsoft.com/office/officeart/2005/8/layout/default"/>
    <dgm:cxn modelId="{3B50D215-D9AB-431D-80C2-6ADCB0B2A097}" type="presParOf" srcId="{5D6E5BA1-0368-4B65-B6AB-D4CA7B6C5385}" destId="{9968B1F0-FD95-4C94-BA48-17E5417D4BC3}" srcOrd="15" destOrd="0" presId="urn:microsoft.com/office/officeart/2005/8/layout/default"/>
    <dgm:cxn modelId="{10A11DF9-8838-4B7E-A9DB-3E9AE8DE4DDF}" type="presParOf" srcId="{5D6E5BA1-0368-4B65-B6AB-D4CA7B6C5385}" destId="{3C268754-B594-40EB-864F-E69E80460640}" srcOrd="1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F13984A-C76D-4A62-A74D-A946177BD391}" type="doc">
      <dgm:prSet loTypeId="urn:microsoft.com/office/officeart/2018/2/layout/IconLabelDescriptionList" loCatId="icon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B8439EE7-90A2-4BEE-9571-4C3CB84A937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Presentations</a:t>
          </a:r>
        </a:p>
      </dgm:t>
    </dgm:pt>
    <dgm:pt modelId="{82333BD6-09C6-49A0-AD36-19AFFED74712}" type="parTrans" cxnId="{E39F1C76-840A-4BE3-BB6E-E299E3634089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120B118B-A04D-4E11-B1A8-05745279A3CF}" type="sibTrans" cxnId="{E39F1C76-840A-4BE3-BB6E-E299E3634089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87B6EC83-38A3-41F9-A851-FA39C4900C57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Monthly Health Presentations/Teleconference Meetings</a:t>
          </a:r>
        </a:p>
      </dgm:t>
    </dgm:pt>
    <dgm:pt modelId="{4687C453-5C62-48D5-B81E-DB46CF7A9348}" type="parTrans" cxnId="{F87FBC72-407A-4388-A76D-653435424E23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9286C4DC-B525-497B-932D-4C82E0B7A3FC}" type="sibTrans" cxnId="{F87FBC72-407A-4388-A76D-653435424E23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572C010C-67DC-4683-9052-DDB7D1038F01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>
              <a:ln>
                <a:noFill/>
              </a:ln>
              <a:solidFill>
                <a:schemeClr val="accent1"/>
              </a:solidFill>
            </a:rPr>
            <a:t>Scorecards</a:t>
          </a:r>
        </a:p>
      </dgm:t>
    </dgm:pt>
    <dgm:pt modelId="{05F5072C-058D-4BEB-8097-214BA717DA4E}" type="parTrans" cxnId="{0B4D6C4F-5137-4EAC-B9B4-7B166B3F5E22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691E78CE-B0D1-45BD-9EE0-30DBCDC47D35}" type="sibTrans" cxnId="{0B4D6C4F-5137-4EAC-B9B4-7B166B3F5E22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7AF5E7B5-DA81-48E5-A9DE-9569A7E022D0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PHCUOR</a:t>
          </a:r>
        </a:p>
      </dgm:t>
    </dgm:pt>
    <dgm:pt modelId="{8C4E735A-961A-4021-87A2-FE221F29122D}" type="parTrans" cxnId="{A681803B-7760-4DF1-B950-0EB297E7E097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9113BF51-EA27-43E7-B349-AB32EA11578D}" type="sibTrans" cxnId="{A681803B-7760-4DF1-B950-0EB297E7E097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A25922C8-994D-460C-B9A8-CA6DCFA68CAF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Nutrition</a:t>
          </a:r>
        </a:p>
      </dgm:t>
    </dgm:pt>
    <dgm:pt modelId="{B75E5FB7-525A-4136-92FB-83F09E6D5C9D}" type="parTrans" cxnId="{A59C47DC-6C95-498C-8663-A7726E0BC0CA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8E1872FA-0901-40E9-9413-2DF5883F25EE}" type="sibTrans" cxnId="{A59C47DC-6C95-498C-8663-A7726E0BC0CA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436301FD-23BA-44F8-8E80-BC7FD1AB0648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UHC</a:t>
          </a:r>
        </a:p>
      </dgm:t>
    </dgm:pt>
    <dgm:pt modelId="{9BEDF18D-9CEC-4874-9892-CE7E02B1DC58}" type="parTrans" cxnId="{C2B89084-76AA-4B27-8D71-EB34A74F1FB7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564B8A6B-EDF2-429B-B7DC-763F2C94A7DC}" type="sibTrans" cxnId="{C2B89084-76AA-4B27-8D71-EB34A74F1FB7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12D09D2C-7A35-47CB-BF66-99AA3D2301DB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Peer learning</a:t>
          </a:r>
        </a:p>
      </dgm:t>
    </dgm:pt>
    <dgm:pt modelId="{E18BF515-1C7C-4FAE-8D62-3176E526C18C}" type="parTrans" cxnId="{F2380D7B-2B6C-482B-B072-3312CC7B11FC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4CBC4043-68AD-4458-906A-FA6B68AE1AAC}" type="sibTrans" cxnId="{F2380D7B-2B6C-482B-B072-3312CC7B11FC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551D504E-BD26-44E6-B680-FA3B7C062C9C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Best Practice</a:t>
          </a:r>
        </a:p>
      </dgm:t>
    </dgm:pt>
    <dgm:pt modelId="{9001B067-8015-4503-9578-3D8D38FA786E}" type="parTrans" cxnId="{1DC39D0A-8186-4DDA-BFE4-1C6ADE40AD6A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5D8AE920-577F-452F-B59F-245EF7D3B407}" type="sibTrans" cxnId="{1DC39D0A-8186-4DDA-BFE4-1C6ADE40AD6A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31C68CE0-7CC4-4072-BAB0-386C81822904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Feedback</a:t>
          </a:r>
        </a:p>
      </dgm:t>
    </dgm:pt>
    <dgm:pt modelId="{3511F486-569A-47A0-93E9-F4BA07AF379E}" type="parTrans" cxnId="{D6D5E5F4-57C1-4736-A367-39783BDCF80D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BB625F0A-0E0E-4655-83DF-461B337A555D}" type="sibTrans" cxnId="{D6D5E5F4-57C1-4736-A367-39783BDCF80D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DCC02245-DE13-462C-A8F8-4FF1AE817D0E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Interface with state MDAs</a:t>
          </a:r>
        </a:p>
      </dgm:t>
    </dgm:pt>
    <dgm:pt modelId="{06DA63D6-9140-4C85-BDC7-A718241D95DB}" type="parTrans" cxnId="{D44C7CC9-B4D7-4516-B6D8-8757F112B32C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9880817B-9DAB-4D4E-AE05-02550A66DB8A}" type="sibTrans" cxnId="{D44C7CC9-B4D7-4516-B6D8-8757F112B32C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954C2660-4A97-4DA3-992B-3A87FB97EDC9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Experience sharing meetings with state actors</a:t>
          </a:r>
        </a:p>
      </dgm:t>
    </dgm:pt>
    <dgm:pt modelId="{7FB5E49C-3A91-4394-BE50-B33DEF59A41D}" type="parTrans" cxnId="{578782F5-C009-40F6-9C70-9E8790F5CBF8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9448EA72-0C54-4657-83B5-45C028E931A9}" type="sibTrans" cxnId="{578782F5-C009-40F6-9C70-9E8790F5CBF8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15EBD3CE-4FA4-4592-A050-3CF6B0E00971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State visits</a:t>
          </a:r>
        </a:p>
      </dgm:t>
    </dgm:pt>
    <dgm:pt modelId="{DE0A89F9-D0B7-49FF-A1F4-B55EB2EB0AE0}" type="parTrans" cxnId="{046BE7AF-4F1A-498D-A38A-5AB442D0CCF6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D28ECFD2-7771-487B-A17D-F001E3C6E3A6}" type="sibTrans" cxnId="{046BE7AF-4F1A-498D-A38A-5AB442D0CCF6}">
      <dgm:prSet/>
      <dgm:spPr/>
      <dgm:t>
        <a:bodyPr/>
        <a:lstStyle/>
        <a:p>
          <a:endParaRPr lang="en-US">
            <a:ln>
              <a:noFill/>
            </a:ln>
            <a:solidFill>
              <a:schemeClr val="accent1"/>
            </a:solidFill>
          </a:endParaRPr>
        </a:p>
      </dgm:t>
    </dgm:pt>
    <dgm:pt modelId="{76D005E3-CAA2-4069-A923-2AF6298C0D74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Experience sharing</a:t>
          </a:r>
        </a:p>
      </dgm:t>
    </dgm:pt>
    <dgm:pt modelId="{81D8572C-00E5-4586-98A8-31347E89844C}" type="parTrans" cxnId="{C00013E7-FE1A-41CE-8443-B3182C084FBA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713BA0C3-53E2-4367-8885-04FFCA1CCE87}" type="sibTrans" cxnId="{C00013E7-FE1A-41CE-8443-B3182C084FBA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8FF6D8F0-DBEF-42F8-B163-829365A49EDB}">
      <dgm:prSet/>
      <dgm:spPr/>
      <dgm:t>
        <a:bodyPr/>
        <a:lstStyle/>
        <a:p>
          <a:pPr>
            <a:lnSpc>
              <a:spcPct val="100000"/>
            </a:lnSpc>
          </a:pPr>
          <a:r>
            <a:rPr lang="en-US">
              <a:ln>
                <a:noFill/>
              </a:ln>
              <a:solidFill>
                <a:schemeClr val="accent1"/>
              </a:solidFill>
            </a:rPr>
            <a:t>Use </a:t>
          </a:r>
          <a:r>
            <a:rPr lang="en-US" dirty="0">
              <a:ln>
                <a:noFill/>
              </a:ln>
              <a:solidFill>
                <a:schemeClr val="accent1"/>
              </a:solidFill>
            </a:rPr>
            <a:t>of champions</a:t>
          </a:r>
        </a:p>
      </dgm:t>
    </dgm:pt>
    <dgm:pt modelId="{2C384B19-010B-497F-A339-FFBFE1003914}" type="parTrans" cxnId="{AA0448FA-1CDC-433F-986F-A6195C752C7B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8F51EECE-9323-4216-8F6A-C571AFAA3B10}" type="sibTrans" cxnId="{AA0448FA-1CDC-433F-986F-A6195C752C7B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E9DF421C-BF65-40B0-8554-E96EAAA9A90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DMA</a:t>
          </a:r>
        </a:p>
      </dgm:t>
    </dgm:pt>
    <dgm:pt modelId="{74E8AF69-A78A-4AC8-83EF-056485DAE227}" type="parTrans" cxnId="{54260A19-E2BE-4C85-B983-8238B799812C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A2A45DB3-B221-48E6-82A0-7320373C3763}" type="sibTrans" cxnId="{54260A19-E2BE-4C85-B983-8238B799812C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8EFB3F3C-0ACE-4784-B003-FF754948F0B5}">
      <dgm:prSet/>
      <dgm:spPr/>
      <dgm:t>
        <a:bodyPr/>
        <a:lstStyle/>
        <a:p>
          <a:pPr>
            <a:lnSpc>
              <a:spcPct val="100000"/>
            </a:lnSpc>
            <a:defRPr b="1"/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Partnership</a:t>
          </a:r>
        </a:p>
      </dgm:t>
    </dgm:pt>
    <dgm:pt modelId="{38FA81FB-D570-46DD-B279-2F8BA718A789}" type="parTrans" cxnId="{EC6734E5-C583-406B-B7B9-F8CC9A096655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92C19ACE-4A3D-4CCE-9F98-7967C8708D49}" type="sibTrans" cxnId="{EC6734E5-C583-406B-B7B9-F8CC9A096655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21699521-F50D-48D6-99C0-243FC2447CFD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Federal MDAS</a:t>
          </a:r>
        </a:p>
      </dgm:t>
    </dgm:pt>
    <dgm:pt modelId="{7179796A-FA92-4EA9-BBB4-789F3E518110}" type="parTrans" cxnId="{B1FC0FFF-997B-4905-B34E-DAA8D0353D43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4473B0D7-3329-4508-969A-2DCE8F82F397}" type="sibTrans" cxnId="{B1FC0FFF-997B-4905-B34E-DAA8D0353D43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991399E1-8C21-475D-A1BC-A57242A5BE9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 dirty="0">
              <a:ln>
                <a:noFill/>
              </a:ln>
              <a:solidFill>
                <a:schemeClr val="accent1"/>
              </a:solidFill>
            </a:rPr>
            <a:t>Development partners</a:t>
          </a:r>
        </a:p>
      </dgm:t>
    </dgm:pt>
    <dgm:pt modelId="{8C80D2E4-DD41-4547-9568-62FECB01D4EF}" type="parTrans" cxnId="{7807C96B-8C2F-43EA-83CF-C87EF449E94A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4EA6696D-D985-47AA-9535-0507438DCBE0}" type="sibTrans" cxnId="{7807C96B-8C2F-43EA-83CF-C87EF449E94A}">
      <dgm:prSet/>
      <dgm:spPr/>
      <dgm:t>
        <a:bodyPr/>
        <a:lstStyle/>
        <a:p>
          <a:endParaRPr lang="en-NG">
            <a:ln>
              <a:noFill/>
            </a:ln>
            <a:solidFill>
              <a:schemeClr val="accent1"/>
            </a:solidFill>
          </a:endParaRPr>
        </a:p>
      </dgm:t>
    </dgm:pt>
    <dgm:pt modelId="{2A891375-FA2B-4634-ABDD-DC741BB22281}" type="pres">
      <dgm:prSet presAssocID="{8F13984A-C76D-4A62-A74D-A946177BD391}" presName="root" presStyleCnt="0">
        <dgm:presLayoutVars>
          <dgm:dir/>
          <dgm:resizeHandles val="exact"/>
        </dgm:presLayoutVars>
      </dgm:prSet>
      <dgm:spPr/>
    </dgm:pt>
    <dgm:pt modelId="{A221DC5C-E760-47F6-AF42-35C8A6ED20D8}" type="pres">
      <dgm:prSet presAssocID="{B8439EE7-90A2-4BEE-9571-4C3CB84A9375}" presName="compNode" presStyleCnt="0"/>
      <dgm:spPr/>
    </dgm:pt>
    <dgm:pt modelId="{4BC65B6E-0339-4C34-B92C-DFBBE4276239}" type="pres">
      <dgm:prSet presAssocID="{B8439EE7-90A2-4BEE-9571-4C3CB84A9375}" presName="iconRect" presStyleLbl="node1" presStyleIdx="0" presStyleCnt="5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Meeting"/>
        </a:ext>
      </dgm:extLst>
    </dgm:pt>
    <dgm:pt modelId="{8E1662B2-37B7-44F1-9486-EC3942DE7CB0}" type="pres">
      <dgm:prSet presAssocID="{B8439EE7-90A2-4BEE-9571-4C3CB84A9375}" presName="iconSpace" presStyleCnt="0"/>
      <dgm:spPr/>
    </dgm:pt>
    <dgm:pt modelId="{2A7B9AAC-B1C2-4115-82AC-09770F92CB6E}" type="pres">
      <dgm:prSet presAssocID="{B8439EE7-90A2-4BEE-9571-4C3CB84A9375}" presName="parTx" presStyleLbl="revTx" presStyleIdx="0" presStyleCnt="10">
        <dgm:presLayoutVars>
          <dgm:chMax val="0"/>
          <dgm:chPref val="0"/>
        </dgm:presLayoutVars>
      </dgm:prSet>
      <dgm:spPr/>
    </dgm:pt>
    <dgm:pt modelId="{86596B68-E488-4B10-822D-187A524DC4E0}" type="pres">
      <dgm:prSet presAssocID="{B8439EE7-90A2-4BEE-9571-4C3CB84A9375}" presName="txSpace" presStyleCnt="0"/>
      <dgm:spPr/>
    </dgm:pt>
    <dgm:pt modelId="{B0FE1283-07AC-4AB7-8DCA-46D1FE438A65}" type="pres">
      <dgm:prSet presAssocID="{B8439EE7-90A2-4BEE-9571-4C3CB84A9375}" presName="desTx" presStyleLbl="revTx" presStyleIdx="1" presStyleCnt="10" custScaleX="119824">
        <dgm:presLayoutVars/>
      </dgm:prSet>
      <dgm:spPr/>
    </dgm:pt>
    <dgm:pt modelId="{3C25CA71-B53A-4E99-91B9-A18AB7960A16}" type="pres">
      <dgm:prSet presAssocID="{120B118B-A04D-4E11-B1A8-05745279A3CF}" presName="sibTrans" presStyleCnt="0"/>
      <dgm:spPr/>
    </dgm:pt>
    <dgm:pt modelId="{C235EFC9-2B8D-412E-B682-E6A070A2E6B2}" type="pres">
      <dgm:prSet presAssocID="{572C010C-67DC-4683-9052-DDB7D1038F01}" presName="compNode" presStyleCnt="0"/>
      <dgm:spPr/>
    </dgm:pt>
    <dgm:pt modelId="{D30AE3F0-964C-4FB1-9E34-0C48CEBE4846}" type="pres">
      <dgm:prSet presAssocID="{572C010C-67DC-4683-9052-DDB7D1038F01}" presName="iconRect" presStyleLbl="node1" presStyleIdx="1" presStyleCnt="5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auge"/>
        </a:ext>
      </dgm:extLst>
    </dgm:pt>
    <dgm:pt modelId="{CD892C20-8E7F-4766-AD49-DB10439CA34B}" type="pres">
      <dgm:prSet presAssocID="{572C010C-67DC-4683-9052-DDB7D1038F01}" presName="iconSpace" presStyleCnt="0"/>
      <dgm:spPr/>
    </dgm:pt>
    <dgm:pt modelId="{5D56C4DA-8E3C-4E36-BA7B-1C1F315B92BB}" type="pres">
      <dgm:prSet presAssocID="{572C010C-67DC-4683-9052-DDB7D1038F01}" presName="parTx" presStyleLbl="revTx" presStyleIdx="2" presStyleCnt="10">
        <dgm:presLayoutVars>
          <dgm:chMax val="0"/>
          <dgm:chPref val="0"/>
        </dgm:presLayoutVars>
      </dgm:prSet>
      <dgm:spPr/>
    </dgm:pt>
    <dgm:pt modelId="{BBE6D847-A4A7-423E-A2ED-A3D370BE16C5}" type="pres">
      <dgm:prSet presAssocID="{572C010C-67DC-4683-9052-DDB7D1038F01}" presName="txSpace" presStyleCnt="0"/>
      <dgm:spPr/>
    </dgm:pt>
    <dgm:pt modelId="{F8BF0B04-51D7-4176-9977-69BDEF1ECD58}" type="pres">
      <dgm:prSet presAssocID="{572C010C-67DC-4683-9052-DDB7D1038F01}" presName="desTx" presStyleLbl="revTx" presStyleIdx="3" presStyleCnt="10">
        <dgm:presLayoutVars/>
      </dgm:prSet>
      <dgm:spPr/>
    </dgm:pt>
    <dgm:pt modelId="{63C9B9C0-0538-42E9-BAAA-A1B7C7702EF8}" type="pres">
      <dgm:prSet presAssocID="{691E78CE-B0D1-45BD-9EE0-30DBCDC47D35}" presName="sibTrans" presStyleCnt="0"/>
      <dgm:spPr/>
    </dgm:pt>
    <dgm:pt modelId="{0BE962BF-81FC-4B8E-BAF2-A6E02DFD1456}" type="pres">
      <dgm:prSet presAssocID="{12D09D2C-7A35-47CB-BF66-99AA3D2301DB}" presName="compNode" presStyleCnt="0"/>
      <dgm:spPr/>
    </dgm:pt>
    <dgm:pt modelId="{FB052A07-4F6F-433D-AD25-677C3F9CAE72}" type="pres">
      <dgm:prSet presAssocID="{12D09D2C-7A35-47CB-BF66-99AA3D2301DB}" presName="iconRect" presStyleLbl="node1" presStyleIdx="2" presStyleCnt="5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Users"/>
        </a:ext>
      </dgm:extLst>
    </dgm:pt>
    <dgm:pt modelId="{3AA87C58-1A48-41EA-A70D-D9589A6668F8}" type="pres">
      <dgm:prSet presAssocID="{12D09D2C-7A35-47CB-BF66-99AA3D2301DB}" presName="iconSpace" presStyleCnt="0"/>
      <dgm:spPr/>
    </dgm:pt>
    <dgm:pt modelId="{C9525B86-F4B4-4C03-96BF-9F40A84DE9F9}" type="pres">
      <dgm:prSet presAssocID="{12D09D2C-7A35-47CB-BF66-99AA3D2301DB}" presName="parTx" presStyleLbl="revTx" presStyleIdx="4" presStyleCnt="10">
        <dgm:presLayoutVars>
          <dgm:chMax val="0"/>
          <dgm:chPref val="0"/>
        </dgm:presLayoutVars>
      </dgm:prSet>
      <dgm:spPr/>
    </dgm:pt>
    <dgm:pt modelId="{A5D76F68-858B-472F-B881-76722503E517}" type="pres">
      <dgm:prSet presAssocID="{12D09D2C-7A35-47CB-BF66-99AA3D2301DB}" presName="txSpace" presStyleCnt="0"/>
      <dgm:spPr/>
    </dgm:pt>
    <dgm:pt modelId="{A56416FA-ED63-49D5-9DD9-835CC3A6F2A0}" type="pres">
      <dgm:prSet presAssocID="{12D09D2C-7A35-47CB-BF66-99AA3D2301DB}" presName="desTx" presStyleLbl="revTx" presStyleIdx="5" presStyleCnt="10">
        <dgm:presLayoutVars/>
      </dgm:prSet>
      <dgm:spPr/>
    </dgm:pt>
    <dgm:pt modelId="{0480554D-4E88-40F7-968F-46ED6FD22DDD}" type="pres">
      <dgm:prSet presAssocID="{4CBC4043-68AD-4458-906A-FA6B68AE1AAC}" presName="sibTrans" presStyleCnt="0"/>
      <dgm:spPr/>
    </dgm:pt>
    <dgm:pt modelId="{C0050A82-B09E-4FF3-BDBB-96F479CFE2F0}" type="pres">
      <dgm:prSet presAssocID="{31C68CE0-7CC4-4072-BAB0-386C81822904}" presName="compNode" presStyleCnt="0"/>
      <dgm:spPr/>
    </dgm:pt>
    <dgm:pt modelId="{53E8FBB9-54A9-4801-B20D-BDB7A41B3110}" type="pres">
      <dgm:prSet presAssocID="{31C68CE0-7CC4-4072-BAB0-386C81822904}" presName="iconRect" presStyleLbl="node1" presStyleIdx="3" presStyleCnt="5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Handshake"/>
        </a:ext>
      </dgm:extLst>
    </dgm:pt>
    <dgm:pt modelId="{83F5780B-EAC9-4DBC-8380-2BD74B14AB9E}" type="pres">
      <dgm:prSet presAssocID="{31C68CE0-7CC4-4072-BAB0-386C81822904}" presName="iconSpace" presStyleCnt="0"/>
      <dgm:spPr/>
    </dgm:pt>
    <dgm:pt modelId="{7BD93BE6-B9FB-41E5-8537-2B159A06B61B}" type="pres">
      <dgm:prSet presAssocID="{31C68CE0-7CC4-4072-BAB0-386C81822904}" presName="parTx" presStyleLbl="revTx" presStyleIdx="6" presStyleCnt="10">
        <dgm:presLayoutVars>
          <dgm:chMax val="0"/>
          <dgm:chPref val="0"/>
        </dgm:presLayoutVars>
      </dgm:prSet>
      <dgm:spPr/>
    </dgm:pt>
    <dgm:pt modelId="{D3AC1711-5562-492A-8AE5-1052A37C71A8}" type="pres">
      <dgm:prSet presAssocID="{31C68CE0-7CC4-4072-BAB0-386C81822904}" presName="txSpace" presStyleCnt="0"/>
      <dgm:spPr/>
    </dgm:pt>
    <dgm:pt modelId="{9B58E029-D6B5-4CE2-BEA0-2D171DA7FB2F}" type="pres">
      <dgm:prSet presAssocID="{31C68CE0-7CC4-4072-BAB0-386C81822904}" presName="desTx" presStyleLbl="revTx" presStyleIdx="7" presStyleCnt="10">
        <dgm:presLayoutVars/>
      </dgm:prSet>
      <dgm:spPr/>
    </dgm:pt>
    <dgm:pt modelId="{9D4848A4-DA0F-4409-A3A4-868BED57C85D}" type="pres">
      <dgm:prSet presAssocID="{BB625F0A-0E0E-4655-83DF-461B337A555D}" presName="sibTrans" presStyleCnt="0"/>
      <dgm:spPr/>
    </dgm:pt>
    <dgm:pt modelId="{4D3DC7E2-E06D-4C72-A88F-7E13851D88A6}" type="pres">
      <dgm:prSet presAssocID="{8EFB3F3C-0ACE-4784-B003-FF754948F0B5}" presName="compNode" presStyleCnt="0"/>
      <dgm:spPr/>
    </dgm:pt>
    <dgm:pt modelId="{909C9698-7CFA-498B-9233-252415FF2A12}" type="pres">
      <dgm:prSet presAssocID="{8EFB3F3C-0ACE-4784-B003-FF754948F0B5}" presName="iconRect" presStyleLbl="node1" presStyleIdx="4" presStyleCnt="5"/>
      <dgm:spPr>
        <a:blipFill>
          <a:blip xmlns:r="http://schemas.openxmlformats.org/officeDocument/2006/relationships"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7000" b="-7000"/>
          </a:stretch>
        </a:blipFill>
      </dgm:spPr>
      <dgm:extLst>
        <a:ext uri="{E40237B7-FDA0-4F09-8148-C483321AD2D9}">
          <dgm14:cNvPr xmlns:dgm14="http://schemas.microsoft.com/office/drawing/2010/diagram" id="0" name="" descr="Children outline"/>
        </a:ext>
      </dgm:extLst>
    </dgm:pt>
    <dgm:pt modelId="{005C0C86-144E-4D04-99D2-DCEC75140EE3}" type="pres">
      <dgm:prSet presAssocID="{8EFB3F3C-0ACE-4784-B003-FF754948F0B5}" presName="iconSpace" presStyleCnt="0"/>
      <dgm:spPr/>
    </dgm:pt>
    <dgm:pt modelId="{7ACE2AE0-88B3-499F-BC4A-EE56758E7EA0}" type="pres">
      <dgm:prSet presAssocID="{8EFB3F3C-0ACE-4784-B003-FF754948F0B5}" presName="parTx" presStyleLbl="revTx" presStyleIdx="8" presStyleCnt="10">
        <dgm:presLayoutVars>
          <dgm:chMax val="0"/>
          <dgm:chPref val="0"/>
        </dgm:presLayoutVars>
      </dgm:prSet>
      <dgm:spPr/>
    </dgm:pt>
    <dgm:pt modelId="{6910D07D-44BA-40F9-8716-1EBF7DB6D19C}" type="pres">
      <dgm:prSet presAssocID="{8EFB3F3C-0ACE-4784-B003-FF754948F0B5}" presName="txSpace" presStyleCnt="0"/>
      <dgm:spPr/>
    </dgm:pt>
    <dgm:pt modelId="{341990E5-7D31-451C-B27C-A5F315E71E82}" type="pres">
      <dgm:prSet presAssocID="{8EFB3F3C-0ACE-4784-B003-FF754948F0B5}" presName="desTx" presStyleLbl="revTx" presStyleIdx="9" presStyleCnt="10">
        <dgm:presLayoutVars/>
      </dgm:prSet>
      <dgm:spPr/>
    </dgm:pt>
  </dgm:ptLst>
  <dgm:cxnLst>
    <dgm:cxn modelId="{49547101-63F4-4D70-8252-B104915878A9}" type="presOf" srcId="{572C010C-67DC-4683-9052-DDB7D1038F01}" destId="{5D56C4DA-8E3C-4E36-BA7B-1C1F315B92BB}" srcOrd="0" destOrd="0" presId="urn:microsoft.com/office/officeart/2018/2/layout/IconLabelDescriptionList"/>
    <dgm:cxn modelId="{1DC39D0A-8186-4DDA-BFE4-1C6ADE40AD6A}" srcId="{12D09D2C-7A35-47CB-BF66-99AA3D2301DB}" destId="{551D504E-BD26-44E6-B680-FA3B7C062C9C}" srcOrd="0" destOrd="0" parTransId="{9001B067-8015-4503-9578-3D8D38FA786E}" sibTransId="{5D8AE920-577F-452F-B59F-245EF7D3B407}"/>
    <dgm:cxn modelId="{54260A19-E2BE-4C85-B983-8238B799812C}" srcId="{572C010C-67DC-4683-9052-DDB7D1038F01}" destId="{E9DF421C-BF65-40B0-8554-E96EAAA9A90D}" srcOrd="3" destOrd="0" parTransId="{74E8AF69-A78A-4AC8-83EF-056485DAE227}" sibTransId="{A2A45DB3-B221-48E6-82A0-7320373C3763}"/>
    <dgm:cxn modelId="{82ACE123-2B53-4D63-9EBD-F12213211981}" type="presOf" srcId="{8EFB3F3C-0ACE-4784-B003-FF754948F0B5}" destId="{7ACE2AE0-88B3-499F-BC4A-EE56758E7EA0}" srcOrd="0" destOrd="0" presId="urn:microsoft.com/office/officeart/2018/2/layout/IconLabelDescriptionList"/>
    <dgm:cxn modelId="{0F8E2C2C-76FE-4D02-B272-E4F314CA675C}" type="presOf" srcId="{A25922C8-994D-460C-B9A8-CA6DCFA68CAF}" destId="{F8BF0B04-51D7-4176-9977-69BDEF1ECD58}" srcOrd="0" destOrd="1" presId="urn:microsoft.com/office/officeart/2018/2/layout/IconLabelDescriptionList"/>
    <dgm:cxn modelId="{75A6F635-6BEC-4404-ACB5-FCE155889EFF}" type="presOf" srcId="{551D504E-BD26-44E6-B680-FA3B7C062C9C}" destId="{A56416FA-ED63-49D5-9DD9-835CC3A6F2A0}" srcOrd="0" destOrd="0" presId="urn:microsoft.com/office/officeart/2018/2/layout/IconLabelDescriptionList"/>
    <dgm:cxn modelId="{A681803B-7760-4DF1-B950-0EB297E7E097}" srcId="{572C010C-67DC-4683-9052-DDB7D1038F01}" destId="{7AF5E7B5-DA81-48E5-A9DE-9569A7E022D0}" srcOrd="0" destOrd="0" parTransId="{8C4E735A-961A-4021-87A2-FE221F29122D}" sibTransId="{9113BF51-EA27-43E7-B349-AB32EA11578D}"/>
    <dgm:cxn modelId="{7042485C-7767-4E70-8752-AA077E9FF068}" type="presOf" srcId="{12D09D2C-7A35-47CB-BF66-99AA3D2301DB}" destId="{C9525B86-F4B4-4C03-96BF-9F40A84DE9F9}" srcOrd="0" destOrd="0" presId="urn:microsoft.com/office/officeart/2018/2/layout/IconLabelDescriptionList"/>
    <dgm:cxn modelId="{62EF9945-BA37-4DD7-88A6-949BBDCB42AF}" type="presOf" srcId="{76D005E3-CAA2-4069-A923-2AF6298C0D74}" destId="{A56416FA-ED63-49D5-9DD9-835CC3A6F2A0}" srcOrd="0" destOrd="1" presId="urn:microsoft.com/office/officeart/2018/2/layout/IconLabelDescriptionList"/>
    <dgm:cxn modelId="{B90EBC67-B53B-4CA3-A87E-080DA4D010D9}" type="presOf" srcId="{31C68CE0-7CC4-4072-BAB0-386C81822904}" destId="{7BD93BE6-B9FB-41E5-8537-2B159A06B61B}" srcOrd="0" destOrd="0" presId="urn:microsoft.com/office/officeart/2018/2/layout/IconLabelDescriptionList"/>
    <dgm:cxn modelId="{7807C96B-8C2F-43EA-83CF-C87EF449E94A}" srcId="{8EFB3F3C-0ACE-4784-B003-FF754948F0B5}" destId="{991399E1-8C21-475D-A1BC-A57242A5BE92}" srcOrd="1" destOrd="0" parTransId="{8C80D2E4-DD41-4547-9568-62FECB01D4EF}" sibTransId="{4EA6696D-D985-47AA-9535-0507438DCBE0}"/>
    <dgm:cxn modelId="{0B4D6C4F-5137-4EAC-B9B4-7B166B3F5E22}" srcId="{8F13984A-C76D-4A62-A74D-A946177BD391}" destId="{572C010C-67DC-4683-9052-DDB7D1038F01}" srcOrd="1" destOrd="0" parTransId="{05F5072C-058D-4BEB-8097-214BA717DA4E}" sibTransId="{691E78CE-B0D1-45BD-9EE0-30DBCDC47D35}"/>
    <dgm:cxn modelId="{F87FBC72-407A-4388-A76D-653435424E23}" srcId="{B8439EE7-90A2-4BEE-9571-4C3CB84A9375}" destId="{87B6EC83-38A3-41F9-A851-FA39C4900C57}" srcOrd="0" destOrd="0" parTransId="{4687C453-5C62-48D5-B81E-DB46CF7A9348}" sibTransId="{9286C4DC-B525-497B-932D-4C82E0B7A3FC}"/>
    <dgm:cxn modelId="{E39F1C76-840A-4BE3-BB6E-E299E3634089}" srcId="{8F13984A-C76D-4A62-A74D-A946177BD391}" destId="{B8439EE7-90A2-4BEE-9571-4C3CB84A9375}" srcOrd="0" destOrd="0" parTransId="{82333BD6-09C6-49A0-AD36-19AFFED74712}" sibTransId="{120B118B-A04D-4E11-B1A8-05745279A3CF}"/>
    <dgm:cxn modelId="{F2380D7B-2B6C-482B-B072-3312CC7B11FC}" srcId="{8F13984A-C76D-4A62-A74D-A946177BD391}" destId="{12D09D2C-7A35-47CB-BF66-99AA3D2301DB}" srcOrd="2" destOrd="0" parTransId="{E18BF515-1C7C-4FAE-8D62-3176E526C18C}" sibTransId="{4CBC4043-68AD-4458-906A-FA6B68AE1AAC}"/>
    <dgm:cxn modelId="{2B54617C-42F1-4963-AED8-D40028CDA3D6}" type="presOf" srcId="{8F13984A-C76D-4A62-A74D-A946177BD391}" destId="{2A891375-FA2B-4634-ABDD-DC741BB22281}" srcOrd="0" destOrd="0" presId="urn:microsoft.com/office/officeart/2018/2/layout/IconLabelDescriptionList"/>
    <dgm:cxn modelId="{AC37E383-68C2-457C-90CC-A7EC6F026FAE}" type="presOf" srcId="{991399E1-8C21-475D-A1BC-A57242A5BE92}" destId="{341990E5-7D31-451C-B27C-A5F315E71E82}" srcOrd="0" destOrd="1" presId="urn:microsoft.com/office/officeart/2018/2/layout/IconLabelDescriptionList"/>
    <dgm:cxn modelId="{C2B89084-76AA-4B27-8D71-EB34A74F1FB7}" srcId="{572C010C-67DC-4683-9052-DDB7D1038F01}" destId="{436301FD-23BA-44F8-8E80-BC7FD1AB0648}" srcOrd="2" destOrd="0" parTransId="{9BEDF18D-9CEC-4874-9892-CE7E02B1DC58}" sibTransId="{564B8A6B-EDF2-429B-B7DC-763F2C94A7DC}"/>
    <dgm:cxn modelId="{0C4D2B8E-7245-4893-83B4-4C816DC7A518}" type="presOf" srcId="{15EBD3CE-4FA4-4592-A050-3CF6B0E00971}" destId="{9B58E029-D6B5-4CE2-BEA0-2D171DA7FB2F}" srcOrd="0" destOrd="2" presId="urn:microsoft.com/office/officeart/2018/2/layout/IconLabelDescriptionList"/>
    <dgm:cxn modelId="{2C2F348F-C995-4DB7-929A-769ABF716657}" type="presOf" srcId="{21699521-F50D-48D6-99C0-243FC2447CFD}" destId="{341990E5-7D31-451C-B27C-A5F315E71E82}" srcOrd="0" destOrd="0" presId="urn:microsoft.com/office/officeart/2018/2/layout/IconLabelDescriptionList"/>
    <dgm:cxn modelId="{2DFD709D-E5E2-489F-9433-0C035737AD56}" type="presOf" srcId="{E9DF421C-BF65-40B0-8554-E96EAAA9A90D}" destId="{F8BF0B04-51D7-4176-9977-69BDEF1ECD58}" srcOrd="0" destOrd="3" presId="urn:microsoft.com/office/officeart/2018/2/layout/IconLabelDescriptionList"/>
    <dgm:cxn modelId="{451960A6-36A3-4756-9505-45956F889290}" type="presOf" srcId="{954C2660-4A97-4DA3-992B-3A87FB97EDC9}" destId="{9B58E029-D6B5-4CE2-BEA0-2D171DA7FB2F}" srcOrd="0" destOrd="1" presId="urn:microsoft.com/office/officeart/2018/2/layout/IconLabelDescriptionList"/>
    <dgm:cxn modelId="{4CECD4AA-1772-4710-BF5A-A8A9825BBB6C}" type="presOf" srcId="{7AF5E7B5-DA81-48E5-A9DE-9569A7E022D0}" destId="{F8BF0B04-51D7-4176-9977-69BDEF1ECD58}" srcOrd="0" destOrd="0" presId="urn:microsoft.com/office/officeart/2018/2/layout/IconLabelDescriptionList"/>
    <dgm:cxn modelId="{A495E6AA-EE19-41A0-87F2-55409B3CE89D}" type="presOf" srcId="{B8439EE7-90A2-4BEE-9571-4C3CB84A9375}" destId="{2A7B9AAC-B1C2-4115-82AC-09770F92CB6E}" srcOrd="0" destOrd="0" presId="urn:microsoft.com/office/officeart/2018/2/layout/IconLabelDescriptionList"/>
    <dgm:cxn modelId="{046BE7AF-4F1A-498D-A38A-5AB442D0CCF6}" srcId="{31C68CE0-7CC4-4072-BAB0-386C81822904}" destId="{15EBD3CE-4FA4-4592-A050-3CF6B0E00971}" srcOrd="2" destOrd="0" parTransId="{DE0A89F9-D0B7-49FF-A1F4-B55EB2EB0AE0}" sibTransId="{D28ECFD2-7771-487B-A17D-F001E3C6E3A6}"/>
    <dgm:cxn modelId="{6752E2BA-F50E-4A29-B7E6-6E503D44A386}" type="presOf" srcId="{DCC02245-DE13-462C-A8F8-4FF1AE817D0E}" destId="{9B58E029-D6B5-4CE2-BEA0-2D171DA7FB2F}" srcOrd="0" destOrd="0" presId="urn:microsoft.com/office/officeart/2018/2/layout/IconLabelDescriptionList"/>
    <dgm:cxn modelId="{DD8DB0C5-6824-4E75-ADFA-119DEEE4B920}" type="presOf" srcId="{87B6EC83-38A3-41F9-A851-FA39C4900C57}" destId="{B0FE1283-07AC-4AB7-8DCA-46D1FE438A65}" srcOrd="0" destOrd="0" presId="urn:microsoft.com/office/officeart/2018/2/layout/IconLabelDescriptionList"/>
    <dgm:cxn modelId="{D44C7CC9-B4D7-4516-B6D8-8757F112B32C}" srcId="{31C68CE0-7CC4-4072-BAB0-386C81822904}" destId="{DCC02245-DE13-462C-A8F8-4FF1AE817D0E}" srcOrd="0" destOrd="0" parTransId="{06DA63D6-9140-4C85-BDC7-A718241D95DB}" sibTransId="{9880817B-9DAB-4D4E-AE05-02550A66DB8A}"/>
    <dgm:cxn modelId="{A59C47DC-6C95-498C-8663-A7726E0BC0CA}" srcId="{572C010C-67DC-4683-9052-DDB7D1038F01}" destId="{A25922C8-994D-460C-B9A8-CA6DCFA68CAF}" srcOrd="1" destOrd="0" parTransId="{B75E5FB7-525A-4136-92FB-83F09E6D5C9D}" sibTransId="{8E1872FA-0901-40E9-9413-2DF5883F25EE}"/>
    <dgm:cxn modelId="{EC6734E5-C583-406B-B7B9-F8CC9A096655}" srcId="{8F13984A-C76D-4A62-A74D-A946177BD391}" destId="{8EFB3F3C-0ACE-4784-B003-FF754948F0B5}" srcOrd="4" destOrd="0" parTransId="{38FA81FB-D570-46DD-B279-2F8BA718A789}" sibTransId="{92C19ACE-4A3D-4CCE-9F98-7967C8708D49}"/>
    <dgm:cxn modelId="{C00013E7-FE1A-41CE-8443-B3182C084FBA}" srcId="{12D09D2C-7A35-47CB-BF66-99AA3D2301DB}" destId="{76D005E3-CAA2-4069-A923-2AF6298C0D74}" srcOrd="1" destOrd="0" parTransId="{81D8572C-00E5-4586-98A8-31347E89844C}" sibTransId="{713BA0C3-53E2-4367-8885-04FFCA1CCE87}"/>
    <dgm:cxn modelId="{B2ED9EE8-C5E2-4FE3-AB64-4A0B10DA18AC}" type="presOf" srcId="{8FF6D8F0-DBEF-42F8-B163-829365A49EDB}" destId="{A56416FA-ED63-49D5-9DD9-835CC3A6F2A0}" srcOrd="0" destOrd="2" presId="urn:microsoft.com/office/officeart/2018/2/layout/IconLabelDescriptionList"/>
    <dgm:cxn modelId="{D6D5E5F4-57C1-4736-A367-39783BDCF80D}" srcId="{8F13984A-C76D-4A62-A74D-A946177BD391}" destId="{31C68CE0-7CC4-4072-BAB0-386C81822904}" srcOrd="3" destOrd="0" parTransId="{3511F486-569A-47A0-93E9-F4BA07AF379E}" sibTransId="{BB625F0A-0E0E-4655-83DF-461B337A555D}"/>
    <dgm:cxn modelId="{578782F5-C009-40F6-9C70-9E8790F5CBF8}" srcId="{31C68CE0-7CC4-4072-BAB0-386C81822904}" destId="{954C2660-4A97-4DA3-992B-3A87FB97EDC9}" srcOrd="1" destOrd="0" parTransId="{7FB5E49C-3A91-4394-BE50-B33DEF59A41D}" sibTransId="{9448EA72-0C54-4657-83B5-45C028E931A9}"/>
    <dgm:cxn modelId="{AA0448FA-1CDC-433F-986F-A6195C752C7B}" srcId="{12D09D2C-7A35-47CB-BF66-99AA3D2301DB}" destId="{8FF6D8F0-DBEF-42F8-B163-829365A49EDB}" srcOrd="2" destOrd="0" parTransId="{2C384B19-010B-497F-A339-FFBFE1003914}" sibTransId="{8F51EECE-9323-4216-8F6A-C571AFAA3B10}"/>
    <dgm:cxn modelId="{7C336BFC-7BAB-4C5D-BC9A-48C0F0EEFA7F}" type="presOf" srcId="{436301FD-23BA-44F8-8E80-BC7FD1AB0648}" destId="{F8BF0B04-51D7-4176-9977-69BDEF1ECD58}" srcOrd="0" destOrd="2" presId="urn:microsoft.com/office/officeart/2018/2/layout/IconLabelDescriptionList"/>
    <dgm:cxn modelId="{B1FC0FFF-997B-4905-B34E-DAA8D0353D43}" srcId="{8EFB3F3C-0ACE-4784-B003-FF754948F0B5}" destId="{21699521-F50D-48D6-99C0-243FC2447CFD}" srcOrd="0" destOrd="0" parTransId="{7179796A-FA92-4EA9-BBB4-789F3E518110}" sibTransId="{4473B0D7-3329-4508-969A-2DCE8F82F397}"/>
    <dgm:cxn modelId="{74F616CA-7C25-49C7-BE1C-EAF179DE18C5}" type="presParOf" srcId="{2A891375-FA2B-4634-ABDD-DC741BB22281}" destId="{A221DC5C-E760-47F6-AF42-35C8A6ED20D8}" srcOrd="0" destOrd="0" presId="urn:microsoft.com/office/officeart/2018/2/layout/IconLabelDescriptionList"/>
    <dgm:cxn modelId="{FF5945C2-8D0D-48DC-8FE3-AF7F4AC94679}" type="presParOf" srcId="{A221DC5C-E760-47F6-AF42-35C8A6ED20D8}" destId="{4BC65B6E-0339-4C34-B92C-DFBBE4276239}" srcOrd="0" destOrd="0" presId="urn:microsoft.com/office/officeart/2018/2/layout/IconLabelDescriptionList"/>
    <dgm:cxn modelId="{B5857B91-70F0-4012-8C22-F765677E1909}" type="presParOf" srcId="{A221DC5C-E760-47F6-AF42-35C8A6ED20D8}" destId="{8E1662B2-37B7-44F1-9486-EC3942DE7CB0}" srcOrd="1" destOrd="0" presId="urn:microsoft.com/office/officeart/2018/2/layout/IconLabelDescriptionList"/>
    <dgm:cxn modelId="{7EA0B9D2-85B4-4FA0-B374-371119044B4E}" type="presParOf" srcId="{A221DC5C-E760-47F6-AF42-35C8A6ED20D8}" destId="{2A7B9AAC-B1C2-4115-82AC-09770F92CB6E}" srcOrd="2" destOrd="0" presId="urn:microsoft.com/office/officeart/2018/2/layout/IconLabelDescriptionList"/>
    <dgm:cxn modelId="{F746F527-D34B-45B3-A0A1-D3195F882EE2}" type="presParOf" srcId="{A221DC5C-E760-47F6-AF42-35C8A6ED20D8}" destId="{86596B68-E488-4B10-822D-187A524DC4E0}" srcOrd="3" destOrd="0" presId="urn:microsoft.com/office/officeart/2018/2/layout/IconLabelDescriptionList"/>
    <dgm:cxn modelId="{9AC232B2-9892-4646-A05C-ADE22FCCA0A1}" type="presParOf" srcId="{A221DC5C-E760-47F6-AF42-35C8A6ED20D8}" destId="{B0FE1283-07AC-4AB7-8DCA-46D1FE438A65}" srcOrd="4" destOrd="0" presId="urn:microsoft.com/office/officeart/2018/2/layout/IconLabelDescriptionList"/>
    <dgm:cxn modelId="{FCAD4F76-642D-45A5-B65A-517B9B64DF43}" type="presParOf" srcId="{2A891375-FA2B-4634-ABDD-DC741BB22281}" destId="{3C25CA71-B53A-4E99-91B9-A18AB7960A16}" srcOrd="1" destOrd="0" presId="urn:microsoft.com/office/officeart/2018/2/layout/IconLabelDescriptionList"/>
    <dgm:cxn modelId="{C478371C-1BBB-4C1F-B8C8-F3BCD7242E6E}" type="presParOf" srcId="{2A891375-FA2B-4634-ABDD-DC741BB22281}" destId="{C235EFC9-2B8D-412E-B682-E6A070A2E6B2}" srcOrd="2" destOrd="0" presId="urn:microsoft.com/office/officeart/2018/2/layout/IconLabelDescriptionList"/>
    <dgm:cxn modelId="{AC36F8CE-AEE3-43CC-9C15-0C406BB9B1D8}" type="presParOf" srcId="{C235EFC9-2B8D-412E-B682-E6A070A2E6B2}" destId="{D30AE3F0-964C-4FB1-9E34-0C48CEBE4846}" srcOrd="0" destOrd="0" presId="urn:microsoft.com/office/officeart/2018/2/layout/IconLabelDescriptionList"/>
    <dgm:cxn modelId="{3B55199D-3D05-4154-B8F0-8449FB377C4C}" type="presParOf" srcId="{C235EFC9-2B8D-412E-B682-E6A070A2E6B2}" destId="{CD892C20-8E7F-4766-AD49-DB10439CA34B}" srcOrd="1" destOrd="0" presId="urn:microsoft.com/office/officeart/2018/2/layout/IconLabelDescriptionList"/>
    <dgm:cxn modelId="{6F0AF700-A617-4FEA-8AD8-36A5058E8E54}" type="presParOf" srcId="{C235EFC9-2B8D-412E-B682-E6A070A2E6B2}" destId="{5D56C4DA-8E3C-4E36-BA7B-1C1F315B92BB}" srcOrd="2" destOrd="0" presId="urn:microsoft.com/office/officeart/2018/2/layout/IconLabelDescriptionList"/>
    <dgm:cxn modelId="{BD591118-8AD2-413E-8E48-892029DD0D18}" type="presParOf" srcId="{C235EFC9-2B8D-412E-B682-E6A070A2E6B2}" destId="{BBE6D847-A4A7-423E-A2ED-A3D370BE16C5}" srcOrd="3" destOrd="0" presId="urn:microsoft.com/office/officeart/2018/2/layout/IconLabelDescriptionList"/>
    <dgm:cxn modelId="{2ED1ADC3-CCA1-481B-A893-E4A2523428B0}" type="presParOf" srcId="{C235EFC9-2B8D-412E-B682-E6A070A2E6B2}" destId="{F8BF0B04-51D7-4176-9977-69BDEF1ECD58}" srcOrd="4" destOrd="0" presId="urn:microsoft.com/office/officeart/2018/2/layout/IconLabelDescriptionList"/>
    <dgm:cxn modelId="{2F41A0A1-E9DD-4893-B547-156973DFAC7F}" type="presParOf" srcId="{2A891375-FA2B-4634-ABDD-DC741BB22281}" destId="{63C9B9C0-0538-42E9-BAAA-A1B7C7702EF8}" srcOrd="3" destOrd="0" presId="urn:microsoft.com/office/officeart/2018/2/layout/IconLabelDescriptionList"/>
    <dgm:cxn modelId="{1FEDE42A-2F52-43E8-8D3A-E3F5D9C495A7}" type="presParOf" srcId="{2A891375-FA2B-4634-ABDD-DC741BB22281}" destId="{0BE962BF-81FC-4B8E-BAF2-A6E02DFD1456}" srcOrd="4" destOrd="0" presId="urn:microsoft.com/office/officeart/2018/2/layout/IconLabelDescriptionList"/>
    <dgm:cxn modelId="{6370CB1A-1D86-4FEB-9BD4-6812A1964C07}" type="presParOf" srcId="{0BE962BF-81FC-4B8E-BAF2-A6E02DFD1456}" destId="{FB052A07-4F6F-433D-AD25-677C3F9CAE72}" srcOrd="0" destOrd="0" presId="urn:microsoft.com/office/officeart/2018/2/layout/IconLabelDescriptionList"/>
    <dgm:cxn modelId="{4DD07F80-2923-4BC9-A016-61E370434D3A}" type="presParOf" srcId="{0BE962BF-81FC-4B8E-BAF2-A6E02DFD1456}" destId="{3AA87C58-1A48-41EA-A70D-D9589A6668F8}" srcOrd="1" destOrd="0" presId="urn:microsoft.com/office/officeart/2018/2/layout/IconLabelDescriptionList"/>
    <dgm:cxn modelId="{DAB73CBC-EB22-4F7C-8BA6-7C9DFEF59251}" type="presParOf" srcId="{0BE962BF-81FC-4B8E-BAF2-A6E02DFD1456}" destId="{C9525B86-F4B4-4C03-96BF-9F40A84DE9F9}" srcOrd="2" destOrd="0" presId="urn:microsoft.com/office/officeart/2018/2/layout/IconLabelDescriptionList"/>
    <dgm:cxn modelId="{83FE019E-6A69-495B-9795-C32CFE62F9C1}" type="presParOf" srcId="{0BE962BF-81FC-4B8E-BAF2-A6E02DFD1456}" destId="{A5D76F68-858B-472F-B881-76722503E517}" srcOrd="3" destOrd="0" presId="urn:microsoft.com/office/officeart/2018/2/layout/IconLabelDescriptionList"/>
    <dgm:cxn modelId="{13172B67-F23F-4555-B9CD-76156C547A03}" type="presParOf" srcId="{0BE962BF-81FC-4B8E-BAF2-A6E02DFD1456}" destId="{A56416FA-ED63-49D5-9DD9-835CC3A6F2A0}" srcOrd="4" destOrd="0" presId="urn:microsoft.com/office/officeart/2018/2/layout/IconLabelDescriptionList"/>
    <dgm:cxn modelId="{88A84215-D8D5-4134-B1CB-C09B11718570}" type="presParOf" srcId="{2A891375-FA2B-4634-ABDD-DC741BB22281}" destId="{0480554D-4E88-40F7-968F-46ED6FD22DDD}" srcOrd="5" destOrd="0" presId="urn:microsoft.com/office/officeart/2018/2/layout/IconLabelDescriptionList"/>
    <dgm:cxn modelId="{272A8D11-0777-4258-862B-9ED8F5B1165E}" type="presParOf" srcId="{2A891375-FA2B-4634-ABDD-DC741BB22281}" destId="{C0050A82-B09E-4FF3-BDBB-96F479CFE2F0}" srcOrd="6" destOrd="0" presId="urn:microsoft.com/office/officeart/2018/2/layout/IconLabelDescriptionList"/>
    <dgm:cxn modelId="{82AA7251-2B6C-4F42-9733-36EADA6E649B}" type="presParOf" srcId="{C0050A82-B09E-4FF3-BDBB-96F479CFE2F0}" destId="{53E8FBB9-54A9-4801-B20D-BDB7A41B3110}" srcOrd="0" destOrd="0" presId="urn:microsoft.com/office/officeart/2018/2/layout/IconLabelDescriptionList"/>
    <dgm:cxn modelId="{CFE57CC1-8171-4DB3-B2AC-E7440F206D2C}" type="presParOf" srcId="{C0050A82-B09E-4FF3-BDBB-96F479CFE2F0}" destId="{83F5780B-EAC9-4DBC-8380-2BD74B14AB9E}" srcOrd="1" destOrd="0" presId="urn:microsoft.com/office/officeart/2018/2/layout/IconLabelDescriptionList"/>
    <dgm:cxn modelId="{A22F667A-9837-4151-9A93-BF3DB2D0801C}" type="presParOf" srcId="{C0050A82-B09E-4FF3-BDBB-96F479CFE2F0}" destId="{7BD93BE6-B9FB-41E5-8537-2B159A06B61B}" srcOrd="2" destOrd="0" presId="urn:microsoft.com/office/officeart/2018/2/layout/IconLabelDescriptionList"/>
    <dgm:cxn modelId="{0B687C53-C8CF-47ED-9258-19A709A04F7E}" type="presParOf" srcId="{C0050A82-B09E-4FF3-BDBB-96F479CFE2F0}" destId="{D3AC1711-5562-492A-8AE5-1052A37C71A8}" srcOrd="3" destOrd="0" presId="urn:microsoft.com/office/officeart/2018/2/layout/IconLabelDescriptionList"/>
    <dgm:cxn modelId="{FADB3A22-35C3-4A1E-8D18-DFEBBA2E3D68}" type="presParOf" srcId="{C0050A82-B09E-4FF3-BDBB-96F479CFE2F0}" destId="{9B58E029-D6B5-4CE2-BEA0-2D171DA7FB2F}" srcOrd="4" destOrd="0" presId="urn:microsoft.com/office/officeart/2018/2/layout/IconLabelDescriptionList"/>
    <dgm:cxn modelId="{8201E124-A63E-4751-9BB2-9DE03A6DA2BD}" type="presParOf" srcId="{2A891375-FA2B-4634-ABDD-DC741BB22281}" destId="{9D4848A4-DA0F-4409-A3A4-868BED57C85D}" srcOrd="7" destOrd="0" presId="urn:microsoft.com/office/officeart/2018/2/layout/IconLabelDescriptionList"/>
    <dgm:cxn modelId="{5749DAFA-3017-4FA0-92AD-24E8E7FEBB34}" type="presParOf" srcId="{2A891375-FA2B-4634-ABDD-DC741BB22281}" destId="{4D3DC7E2-E06D-4C72-A88F-7E13851D88A6}" srcOrd="8" destOrd="0" presId="urn:microsoft.com/office/officeart/2018/2/layout/IconLabelDescriptionList"/>
    <dgm:cxn modelId="{75B9F0E8-0118-4E5F-B465-DFDE7C2AFA8E}" type="presParOf" srcId="{4D3DC7E2-E06D-4C72-A88F-7E13851D88A6}" destId="{909C9698-7CFA-498B-9233-252415FF2A12}" srcOrd="0" destOrd="0" presId="urn:microsoft.com/office/officeart/2018/2/layout/IconLabelDescriptionList"/>
    <dgm:cxn modelId="{7C7885D0-ED12-4D6A-A422-7EDA91E70DB2}" type="presParOf" srcId="{4D3DC7E2-E06D-4C72-A88F-7E13851D88A6}" destId="{005C0C86-144E-4D04-99D2-DCEC75140EE3}" srcOrd="1" destOrd="0" presId="urn:microsoft.com/office/officeart/2018/2/layout/IconLabelDescriptionList"/>
    <dgm:cxn modelId="{7C203486-2DD5-4C7F-A14E-796365F13EBD}" type="presParOf" srcId="{4D3DC7E2-E06D-4C72-A88F-7E13851D88A6}" destId="{7ACE2AE0-88B3-499F-BC4A-EE56758E7EA0}" srcOrd="2" destOrd="0" presId="urn:microsoft.com/office/officeart/2018/2/layout/IconLabelDescriptionList"/>
    <dgm:cxn modelId="{6350F0F7-0D59-49CF-A251-6481B3BEBFDE}" type="presParOf" srcId="{4D3DC7E2-E06D-4C72-A88F-7E13851D88A6}" destId="{6910D07D-44BA-40F9-8716-1EBF7DB6D19C}" srcOrd="3" destOrd="0" presId="urn:microsoft.com/office/officeart/2018/2/layout/IconLabelDescriptionList"/>
    <dgm:cxn modelId="{8E3774CD-F5F4-4CF0-9210-E5596E7089B4}" type="presParOf" srcId="{4D3DC7E2-E06D-4C72-A88F-7E13851D88A6}" destId="{341990E5-7D31-451C-B27C-A5F315E71E82}" srcOrd="4" destOrd="0" presId="urn:microsoft.com/office/officeart/2018/2/layout/IconLabelDescriptionList"/>
  </dgm:cxnLst>
  <dgm:bg>
    <a:solidFill>
      <a:schemeClr val="bg1"/>
    </a:solidFill>
  </dgm:bg>
  <dgm:whole>
    <a:ln>
      <a:solidFill>
        <a:schemeClr val="accent1">
          <a:shade val="95000"/>
          <a:satMod val="105000"/>
        </a:schemeClr>
      </a:solidFill>
    </a:ln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587DECED-EF83-4D98-B931-0BE0254CF6E3}" type="doc">
      <dgm:prSet loTypeId="urn:microsoft.com/office/officeart/2016/7/layout/VerticalSolidActionList" loCatId="List" qsTypeId="urn:microsoft.com/office/officeart/2005/8/quickstyle/simple4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E93CF12C-86BF-49AD-8532-529BEDE86E74}">
      <dgm:prSet/>
      <dgm:spPr/>
      <dgm:t>
        <a:bodyPr/>
        <a:lstStyle/>
        <a:p>
          <a:r>
            <a:rPr lang="en-US" b="1"/>
            <a:t>Bill &amp; Melinda Gates Foundation:</a:t>
          </a:r>
          <a:r>
            <a:rPr lang="en-US"/>
            <a:t> </a:t>
          </a:r>
        </a:p>
      </dgm:t>
    </dgm:pt>
    <dgm:pt modelId="{17936144-BF8F-4681-BB5E-5E9406003BFC}" type="parTrans" cxnId="{064066E2-8F9A-4B17-BF65-5251BC2F6279}">
      <dgm:prSet/>
      <dgm:spPr/>
      <dgm:t>
        <a:bodyPr/>
        <a:lstStyle/>
        <a:p>
          <a:endParaRPr lang="en-US"/>
        </a:p>
      </dgm:t>
    </dgm:pt>
    <dgm:pt modelId="{56D40A7A-826A-4986-A47E-ED319B1E41A3}" type="sibTrans" cxnId="{064066E2-8F9A-4B17-BF65-5251BC2F6279}">
      <dgm:prSet/>
      <dgm:spPr/>
      <dgm:t>
        <a:bodyPr/>
        <a:lstStyle/>
        <a:p>
          <a:endParaRPr lang="en-US"/>
        </a:p>
      </dgm:t>
    </dgm:pt>
    <dgm:pt modelId="{C26D3224-FAEF-4DF9-AA4F-2577EED1FACC}">
      <dgm:prSet custT="1"/>
      <dgm:spPr/>
      <dgm:t>
        <a:bodyPr/>
        <a:lstStyle/>
        <a:p>
          <a:r>
            <a:rPr lang="en-US" sz="1600" dirty="0"/>
            <a:t>Use of Data by NGF for Prioritization, Decision Making and Accountability</a:t>
          </a:r>
        </a:p>
      </dgm:t>
    </dgm:pt>
    <dgm:pt modelId="{B699B625-7287-4BF2-9099-88D34BC56314}" type="parTrans" cxnId="{10A72DA7-AC21-4943-A674-B074B73570A2}">
      <dgm:prSet/>
      <dgm:spPr/>
      <dgm:t>
        <a:bodyPr/>
        <a:lstStyle/>
        <a:p>
          <a:endParaRPr lang="en-US"/>
        </a:p>
      </dgm:t>
    </dgm:pt>
    <dgm:pt modelId="{58F1A0F8-B0A8-486D-B98C-5FCD30BCEB81}" type="sibTrans" cxnId="{10A72DA7-AC21-4943-A674-B074B73570A2}">
      <dgm:prSet/>
      <dgm:spPr/>
      <dgm:t>
        <a:bodyPr/>
        <a:lstStyle/>
        <a:p>
          <a:endParaRPr lang="en-US"/>
        </a:p>
      </dgm:t>
    </dgm:pt>
    <dgm:pt modelId="{8773A6B6-E179-4B9D-8DC7-0C70F33FA49A}">
      <dgm:prSet/>
      <dgm:spPr/>
      <dgm:t>
        <a:bodyPr/>
        <a:lstStyle/>
        <a:p>
          <a:r>
            <a:rPr lang="en-US" b="1"/>
            <a:t>BMGF/UNICEF/NPHCDA: </a:t>
          </a:r>
          <a:endParaRPr lang="en-US"/>
        </a:p>
      </dgm:t>
    </dgm:pt>
    <dgm:pt modelId="{BF4F9C2B-3A73-40C5-815D-1CE83C5D270A}" type="parTrans" cxnId="{164BC99C-6B37-42EE-AB57-81A6213652BC}">
      <dgm:prSet/>
      <dgm:spPr/>
      <dgm:t>
        <a:bodyPr/>
        <a:lstStyle/>
        <a:p>
          <a:endParaRPr lang="en-US"/>
        </a:p>
      </dgm:t>
    </dgm:pt>
    <dgm:pt modelId="{2F72C342-4322-4BB3-B9DA-2295FB098283}" type="sibTrans" cxnId="{164BC99C-6B37-42EE-AB57-81A6213652BC}">
      <dgm:prSet/>
      <dgm:spPr/>
      <dgm:t>
        <a:bodyPr/>
        <a:lstStyle/>
        <a:p>
          <a:endParaRPr lang="en-US"/>
        </a:p>
      </dgm:t>
    </dgm:pt>
    <dgm:pt modelId="{D2DE6160-7E6E-4F2D-BBB5-40350562AF45}">
      <dgm:prSet custT="1"/>
      <dgm:spPr/>
      <dgm:t>
        <a:bodyPr/>
        <a:lstStyle/>
        <a:p>
          <a:r>
            <a:rPr lang="en-US" sz="1600" dirty="0"/>
            <a:t>PHC Leadership Challenge</a:t>
          </a:r>
        </a:p>
      </dgm:t>
    </dgm:pt>
    <dgm:pt modelId="{B2E6A55F-8EF2-4699-A722-287D699FF39A}" type="parTrans" cxnId="{254D8519-039D-449F-873F-150C519FBEC3}">
      <dgm:prSet/>
      <dgm:spPr/>
      <dgm:t>
        <a:bodyPr/>
        <a:lstStyle/>
        <a:p>
          <a:endParaRPr lang="en-US"/>
        </a:p>
      </dgm:t>
    </dgm:pt>
    <dgm:pt modelId="{3DECC056-B9C5-486D-A1F3-C1C2C21BFD4E}" type="sibTrans" cxnId="{254D8519-039D-449F-873F-150C519FBEC3}">
      <dgm:prSet/>
      <dgm:spPr/>
      <dgm:t>
        <a:bodyPr/>
        <a:lstStyle/>
        <a:p>
          <a:endParaRPr lang="en-US"/>
        </a:p>
      </dgm:t>
    </dgm:pt>
    <dgm:pt modelId="{4F9889BB-B7B6-4826-9679-16A1E5A7E8D0}">
      <dgm:prSet/>
      <dgm:spPr/>
      <dgm:t>
        <a:bodyPr/>
        <a:lstStyle/>
        <a:p>
          <a:r>
            <a:rPr lang="en-US" b="1" dirty="0"/>
            <a:t>GAVI </a:t>
          </a:r>
          <a:endParaRPr lang="en-US" dirty="0"/>
        </a:p>
      </dgm:t>
    </dgm:pt>
    <dgm:pt modelId="{A0E7B06B-664D-468A-821C-BE55928689CD}" type="parTrans" cxnId="{DDCDC4D9-B28F-45E5-BDD4-45247B04F779}">
      <dgm:prSet/>
      <dgm:spPr/>
      <dgm:t>
        <a:bodyPr/>
        <a:lstStyle/>
        <a:p>
          <a:endParaRPr lang="en-US"/>
        </a:p>
      </dgm:t>
    </dgm:pt>
    <dgm:pt modelId="{C5407255-42FD-4C1A-8A37-C9849E436B26}" type="sibTrans" cxnId="{DDCDC4D9-B28F-45E5-BDD4-45247B04F779}">
      <dgm:prSet/>
      <dgm:spPr/>
      <dgm:t>
        <a:bodyPr/>
        <a:lstStyle/>
        <a:p>
          <a:endParaRPr lang="en-US"/>
        </a:p>
      </dgm:t>
    </dgm:pt>
    <dgm:pt modelId="{414D82F7-3729-41B1-ACDD-37387B55755F}">
      <dgm:prSet custT="1"/>
      <dgm:spPr/>
      <dgm:t>
        <a:bodyPr/>
        <a:lstStyle/>
        <a:p>
          <a:r>
            <a:rPr lang="en-US" sz="1600" dirty="0"/>
            <a:t>Support for Sub-National Engagement on Routine Immunization and COVID-19 Response</a:t>
          </a:r>
        </a:p>
      </dgm:t>
    </dgm:pt>
    <dgm:pt modelId="{E535C1D9-8308-4067-8E3A-355FB9774C75}" type="parTrans" cxnId="{0FC614F9-BD53-487B-B74E-35B9CF95167C}">
      <dgm:prSet/>
      <dgm:spPr/>
      <dgm:t>
        <a:bodyPr/>
        <a:lstStyle/>
        <a:p>
          <a:endParaRPr lang="en-US"/>
        </a:p>
      </dgm:t>
    </dgm:pt>
    <dgm:pt modelId="{12D618C2-776E-454E-BC71-C22BE44712AC}" type="sibTrans" cxnId="{0FC614F9-BD53-487B-B74E-35B9CF95167C}">
      <dgm:prSet/>
      <dgm:spPr/>
      <dgm:t>
        <a:bodyPr/>
        <a:lstStyle/>
        <a:p>
          <a:endParaRPr lang="en-US"/>
        </a:p>
      </dgm:t>
    </dgm:pt>
    <dgm:pt modelId="{0948B2D5-0C18-40B8-8A89-9E1F160FA0CC}">
      <dgm:prSet/>
      <dgm:spPr/>
      <dgm:t>
        <a:bodyPr/>
        <a:lstStyle/>
        <a:p>
          <a:r>
            <a:rPr lang="en-US" b="1" dirty="0"/>
            <a:t>UNICEF</a:t>
          </a:r>
          <a:endParaRPr lang="en-US" dirty="0"/>
        </a:p>
      </dgm:t>
    </dgm:pt>
    <dgm:pt modelId="{04794362-C256-4BBD-B80E-1758E3FD0E86}" type="parTrans" cxnId="{670B0A45-0B07-493A-BC7C-D2A0EDDBCA80}">
      <dgm:prSet/>
      <dgm:spPr/>
      <dgm:t>
        <a:bodyPr/>
        <a:lstStyle/>
        <a:p>
          <a:endParaRPr lang="en-US"/>
        </a:p>
      </dgm:t>
    </dgm:pt>
    <dgm:pt modelId="{730B1675-FFF8-4BA0-AE7D-D44C7BB146A3}" type="sibTrans" cxnId="{670B0A45-0B07-493A-BC7C-D2A0EDDBCA80}">
      <dgm:prSet/>
      <dgm:spPr/>
      <dgm:t>
        <a:bodyPr/>
        <a:lstStyle/>
        <a:p>
          <a:endParaRPr lang="en-US"/>
        </a:p>
      </dgm:t>
    </dgm:pt>
    <dgm:pt modelId="{91169252-83CD-4130-A0EE-BCE49DEFB060}">
      <dgm:prSet custT="1"/>
      <dgm:spPr/>
      <dgm:t>
        <a:bodyPr/>
        <a:lstStyle/>
        <a:p>
          <a:r>
            <a:rPr lang="en-US" sz="1600" b="1" dirty="0"/>
            <a:t>Nutrition</a:t>
          </a:r>
          <a:endParaRPr lang="en-US" sz="1600" dirty="0"/>
        </a:p>
      </dgm:t>
    </dgm:pt>
    <dgm:pt modelId="{0484CD70-499E-4388-8CDD-AE50C4272219}" type="parTrans" cxnId="{AB1845E7-8234-4726-8C37-D4674333C5BF}">
      <dgm:prSet/>
      <dgm:spPr/>
      <dgm:t>
        <a:bodyPr/>
        <a:lstStyle/>
        <a:p>
          <a:endParaRPr lang="en-US"/>
        </a:p>
      </dgm:t>
    </dgm:pt>
    <dgm:pt modelId="{54B15753-DEC9-4645-81BE-FB4F71F82C7A}" type="sibTrans" cxnId="{AB1845E7-8234-4726-8C37-D4674333C5BF}">
      <dgm:prSet/>
      <dgm:spPr/>
      <dgm:t>
        <a:bodyPr/>
        <a:lstStyle/>
        <a:p>
          <a:endParaRPr lang="en-US"/>
        </a:p>
      </dgm:t>
    </dgm:pt>
    <dgm:pt modelId="{42F0373C-888F-4702-B6DB-65E274C99976}">
      <dgm:prSet/>
      <dgm:spPr/>
      <dgm:t>
        <a:bodyPr/>
        <a:lstStyle/>
        <a:p>
          <a:r>
            <a:rPr lang="en-US" b="1"/>
            <a:t>Results for Development: </a:t>
          </a:r>
          <a:endParaRPr lang="en-US"/>
        </a:p>
      </dgm:t>
    </dgm:pt>
    <dgm:pt modelId="{B5AA1D6D-06FA-4F27-817D-9FD62A48DB27}" type="parTrans" cxnId="{9031C99E-F6AD-466F-AA31-5EA670302984}">
      <dgm:prSet/>
      <dgm:spPr/>
      <dgm:t>
        <a:bodyPr/>
        <a:lstStyle/>
        <a:p>
          <a:endParaRPr lang="en-US"/>
        </a:p>
      </dgm:t>
    </dgm:pt>
    <dgm:pt modelId="{C7358285-CB6F-447E-B86B-F720F57277A8}" type="sibTrans" cxnId="{9031C99E-F6AD-466F-AA31-5EA670302984}">
      <dgm:prSet/>
      <dgm:spPr/>
      <dgm:t>
        <a:bodyPr/>
        <a:lstStyle/>
        <a:p>
          <a:endParaRPr lang="en-US"/>
        </a:p>
      </dgm:t>
    </dgm:pt>
    <dgm:pt modelId="{AB532701-AE1C-46AC-97A2-7129DB00CCCD}">
      <dgm:prSet custT="1"/>
      <dgm:spPr/>
      <dgm:t>
        <a:bodyPr/>
        <a:lstStyle/>
        <a:p>
          <a:r>
            <a:rPr lang="en-US" sz="1600" dirty="0"/>
            <a:t>Nutrition financing</a:t>
          </a:r>
        </a:p>
      </dgm:t>
    </dgm:pt>
    <dgm:pt modelId="{F0CE35DC-E994-4A2C-A182-852E8C0E0D7F}" type="parTrans" cxnId="{82B3EC9A-3EFD-46E7-8D05-0A272852FD39}">
      <dgm:prSet/>
      <dgm:spPr/>
      <dgm:t>
        <a:bodyPr/>
        <a:lstStyle/>
        <a:p>
          <a:endParaRPr lang="en-US"/>
        </a:p>
      </dgm:t>
    </dgm:pt>
    <dgm:pt modelId="{CB76958C-598A-43E8-9480-68135B11B0ED}" type="sibTrans" cxnId="{82B3EC9A-3EFD-46E7-8D05-0A272852FD39}">
      <dgm:prSet/>
      <dgm:spPr/>
      <dgm:t>
        <a:bodyPr/>
        <a:lstStyle/>
        <a:p>
          <a:endParaRPr lang="en-US"/>
        </a:p>
      </dgm:t>
    </dgm:pt>
    <dgm:pt modelId="{27FDF46C-D919-421F-B355-CADDD76B6127}" type="pres">
      <dgm:prSet presAssocID="{587DECED-EF83-4D98-B931-0BE0254CF6E3}" presName="Name0" presStyleCnt="0">
        <dgm:presLayoutVars>
          <dgm:dir/>
          <dgm:animLvl val="lvl"/>
          <dgm:resizeHandles val="exact"/>
        </dgm:presLayoutVars>
      </dgm:prSet>
      <dgm:spPr/>
    </dgm:pt>
    <dgm:pt modelId="{EF80C358-FE7A-4C8E-AF93-9FB60FA0FA6C}" type="pres">
      <dgm:prSet presAssocID="{E93CF12C-86BF-49AD-8532-529BEDE86E74}" presName="linNode" presStyleCnt="0"/>
      <dgm:spPr/>
    </dgm:pt>
    <dgm:pt modelId="{E8035F2B-CF27-493A-8B83-20628B741266}" type="pres">
      <dgm:prSet presAssocID="{E93CF12C-86BF-49AD-8532-529BEDE86E74}" presName="parentText" presStyleLbl="alignNode1" presStyleIdx="0" presStyleCnt="5">
        <dgm:presLayoutVars>
          <dgm:chMax val="1"/>
          <dgm:bulletEnabled/>
        </dgm:presLayoutVars>
      </dgm:prSet>
      <dgm:spPr/>
    </dgm:pt>
    <dgm:pt modelId="{FDD29677-53B6-434A-B857-0537C830234C}" type="pres">
      <dgm:prSet presAssocID="{E93CF12C-86BF-49AD-8532-529BEDE86E74}" presName="descendantText" presStyleLbl="alignAccFollowNode1" presStyleIdx="0" presStyleCnt="5">
        <dgm:presLayoutVars>
          <dgm:bulletEnabled/>
        </dgm:presLayoutVars>
      </dgm:prSet>
      <dgm:spPr/>
    </dgm:pt>
    <dgm:pt modelId="{1AF7E322-D9ED-4756-85CA-0588C66F1B1A}" type="pres">
      <dgm:prSet presAssocID="{56D40A7A-826A-4986-A47E-ED319B1E41A3}" presName="sp" presStyleCnt="0"/>
      <dgm:spPr/>
    </dgm:pt>
    <dgm:pt modelId="{854A4A00-AE33-406A-91D8-5F13A73AE0AD}" type="pres">
      <dgm:prSet presAssocID="{8773A6B6-E179-4B9D-8DC7-0C70F33FA49A}" presName="linNode" presStyleCnt="0"/>
      <dgm:spPr/>
    </dgm:pt>
    <dgm:pt modelId="{1270C090-638E-46AC-BCBD-CF29FDAFFCC7}" type="pres">
      <dgm:prSet presAssocID="{8773A6B6-E179-4B9D-8DC7-0C70F33FA49A}" presName="parentText" presStyleLbl="alignNode1" presStyleIdx="1" presStyleCnt="5">
        <dgm:presLayoutVars>
          <dgm:chMax val="1"/>
          <dgm:bulletEnabled/>
        </dgm:presLayoutVars>
      </dgm:prSet>
      <dgm:spPr/>
    </dgm:pt>
    <dgm:pt modelId="{9082D5E6-9951-4C52-B4FC-397395789BA9}" type="pres">
      <dgm:prSet presAssocID="{8773A6B6-E179-4B9D-8DC7-0C70F33FA49A}" presName="descendantText" presStyleLbl="alignAccFollowNode1" presStyleIdx="1" presStyleCnt="5">
        <dgm:presLayoutVars>
          <dgm:bulletEnabled/>
        </dgm:presLayoutVars>
      </dgm:prSet>
      <dgm:spPr/>
    </dgm:pt>
    <dgm:pt modelId="{69AE6FBC-B9B1-4752-ADD6-AE6C4FCCDA23}" type="pres">
      <dgm:prSet presAssocID="{2F72C342-4322-4BB3-B9DA-2295FB098283}" presName="sp" presStyleCnt="0"/>
      <dgm:spPr/>
    </dgm:pt>
    <dgm:pt modelId="{5AF84B13-B772-440C-8318-BA293DA26966}" type="pres">
      <dgm:prSet presAssocID="{4F9889BB-B7B6-4826-9679-16A1E5A7E8D0}" presName="linNode" presStyleCnt="0"/>
      <dgm:spPr/>
    </dgm:pt>
    <dgm:pt modelId="{B2DE01C5-E7FD-4809-B0FD-9D57ED276494}" type="pres">
      <dgm:prSet presAssocID="{4F9889BB-B7B6-4826-9679-16A1E5A7E8D0}" presName="parentText" presStyleLbl="alignNode1" presStyleIdx="2" presStyleCnt="5">
        <dgm:presLayoutVars>
          <dgm:chMax val="1"/>
          <dgm:bulletEnabled/>
        </dgm:presLayoutVars>
      </dgm:prSet>
      <dgm:spPr/>
    </dgm:pt>
    <dgm:pt modelId="{1BBB2B38-2658-4E7C-9314-26048BBDD93A}" type="pres">
      <dgm:prSet presAssocID="{4F9889BB-B7B6-4826-9679-16A1E5A7E8D0}" presName="descendantText" presStyleLbl="alignAccFollowNode1" presStyleIdx="2" presStyleCnt="5">
        <dgm:presLayoutVars>
          <dgm:bulletEnabled/>
        </dgm:presLayoutVars>
      </dgm:prSet>
      <dgm:spPr/>
    </dgm:pt>
    <dgm:pt modelId="{6D2F8964-0ABD-48D3-9B66-79012B88D28A}" type="pres">
      <dgm:prSet presAssocID="{C5407255-42FD-4C1A-8A37-C9849E436B26}" presName="sp" presStyleCnt="0"/>
      <dgm:spPr/>
    </dgm:pt>
    <dgm:pt modelId="{750FD77B-8DAD-4675-9A99-AFFE7F3CACF3}" type="pres">
      <dgm:prSet presAssocID="{0948B2D5-0C18-40B8-8A89-9E1F160FA0CC}" presName="linNode" presStyleCnt="0"/>
      <dgm:spPr/>
    </dgm:pt>
    <dgm:pt modelId="{0B8A6C56-54CF-4647-804E-B23D1946D6A2}" type="pres">
      <dgm:prSet presAssocID="{0948B2D5-0C18-40B8-8A89-9E1F160FA0CC}" presName="parentText" presStyleLbl="alignNode1" presStyleIdx="3" presStyleCnt="5">
        <dgm:presLayoutVars>
          <dgm:chMax val="1"/>
          <dgm:bulletEnabled/>
        </dgm:presLayoutVars>
      </dgm:prSet>
      <dgm:spPr/>
    </dgm:pt>
    <dgm:pt modelId="{B24A9C4E-62E5-4CD3-8211-1A8F155BF7EE}" type="pres">
      <dgm:prSet presAssocID="{0948B2D5-0C18-40B8-8A89-9E1F160FA0CC}" presName="descendantText" presStyleLbl="alignAccFollowNode1" presStyleIdx="3" presStyleCnt="5">
        <dgm:presLayoutVars>
          <dgm:bulletEnabled/>
        </dgm:presLayoutVars>
      </dgm:prSet>
      <dgm:spPr/>
    </dgm:pt>
    <dgm:pt modelId="{A5E68B38-B4A3-44B0-ABCE-996AB2E9B99B}" type="pres">
      <dgm:prSet presAssocID="{730B1675-FFF8-4BA0-AE7D-D44C7BB146A3}" presName="sp" presStyleCnt="0"/>
      <dgm:spPr/>
    </dgm:pt>
    <dgm:pt modelId="{4F76BC63-D024-4797-B7A7-64EDD5B67132}" type="pres">
      <dgm:prSet presAssocID="{42F0373C-888F-4702-B6DB-65E274C99976}" presName="linNode" presStyleCnt="0"/>
      <dgm:spPr/>
    </dgm:pt>
    <dgm:pt modelId="{ED85222B-E6BB-4621-8DB5-E948BD7C3996}" type="pres">
      <dgm:prSet presAssocID="{42F0373C-888F-4702-B6DB-65E274C99976}" presName="parentText" presStyleLbl="alignNode1" presStyleIdx="4" presStyleCnt="5">
        <dgm:presLayoutVars>
          <dgm:chMax val="1"/>
          <dgm:bulletEnabled/>
        </dgm:presLayoutVars>
      </dgm:prSet>
      <dgm:spPr/>
    </dgm:pt>
    <dgm:pt modelId="{63B38DA1-A743-4B43-A438-D9A1BF34FBAC}" type="pres">
      <dgm:prSet presAssocID="{42F0373C-888F-4702-B6DB-65E274C99976}" presName="descendantText" presStyleLbl="alignAccFollowNode1" presStyleIdx="4" presStyleCnt="5">
        <dgm:presLayoutVars>
          <dgm:bulletEnabled/>
        </dgm:presLayoutVars>
      </dgm:prSet>
      <dgm:spPr/>
    </dgm:pt>
  </dgm:ptLst>
  <dgm:cxnLst>
    <dgm:cxn modelId="{08DB3808-FC9F-4FA9-9A5E-C619BF5C585D}" type="presOf" srcId="{4F9889BB-B7B6-4826-9679-16A1E5A7E8D0}" destId="{B2DE01C5-E7FD-4809-B0FD-9D57ED276494}" srcOrd="0" destOrd="0" presId="urn:microsoft.com/office/officeart/2016/7/layout/VerticalSolidActionList"/>
    <dgm:cxn modelId="{AEC8F40D-522A-40ED-A279-29903949A206}" type="presOf" srcId="{91169252-83CD-4130-A0EE-BCE49DEFB060}" destId="{B24A9C4E-62E5-4CD3-8211-1A8F155BF7EE}" srcOrd="0" destOrd="0" presId="urn:microsoft.com/office/officeart/2016/7/layout/VerticalSolidActionList"/>
    <dgm:cxn modelId="{B1923311-A71D-4980-9FE7-C4FF040EF1EC}" type="presOf" srcId="{C26D3224-FAEF-4DF9-AA4F-2577EED1FACC}" destId="{FDD29677-53B6-434A-B857-0537C830234C}" srcOrd="0" destOrd="0" presId="urn:microsoft.com/office/officeart/2016/7/layout/VerticalSolidActionList"/>
    <dgm:cxn modelId="{1A3A1C19-4638-4F62-A8A0-8B149436E05C}" type="presOf" srcId="{0948B2D5-0C18-40B8-8A89-9E1F160FA0CC}" destId="{0B8A6C56-54CF-4647-804E-B23D1946D6A2}" srcOrd="0" destOrd="0" presId="urn:microsoft.com/office/officeart/2016/7/layout/VerticalSolidActionList"/>
    <dgm:cxn modelId="{254D8519-039D-449F-873F-150C519FBEC3}" srcId="{8773A6B6-E179-4B9D-8DC7-0C70F33FA49A}" destId="{D2DE6160-7E6E-4F2D-BBB5-40350562AF45}" srcOrd="0" destOrd="0" parTransId="{B2E6A55F-8EF2-4699-A722-287D699FF39A}" sibTransId="{3DECC056-B9C5-486D-A1F3-C1C2C21BFD4E}"/>
    <dgm:cxn modelId="{643BC823-9469-4D4E-827C-C7CCFA5FDB1C}" type="presOf" srcId="{E93CF12C-86BF-49AD-8532-529BEDE86E74}" destId="{E8035F2B-CF27-493A-8B83-20628B741266}" srcOrd="0" destOrd="0" presId="urn:microsoft.com/office/officeart/2016/7/layout/VerticalSolidActionList"/>
    <dgm:cxn modelId="{670B0A45-0B07-493A-BC7C-D2A0EDDBCA80}" srcId="{587DECED-EF83-4D98-B931-0BE0254CF6E3}" destId="{0948B2D5-0C18-40B8-8A89-9E1F160FA0CC}" srcOrd="3" destOrd="0" parTransId="{04794362-C256-4BBD-B80E-1758E3FD0E86}" sibTransId="{730B1675-FFF8-4BA0-AE7D-D44C7BB146A3}"/>
    <dgm:cxn modelId="{6A1B7A79-43CD-41AD-9768-B10C6E46CFA7}" type="presOf" srcId="{587DECED-EF83-4D98-B931-0BE0254CF6E3}" destId="{27FDF46C-D919-421F-B355-CADDD76B6127}" srcOrd="0" destOrd="0" presId="urn:microsoft.com/office/officeart/2016/7/layout/VerticalSolidActionList"/>
    <dgm:cxn modelId="{E7CBBE7A-B064-4ED2-B403-DA40F475EA6A}" type="presOf" srcId="{42F0373C-888F-4702-B6DB-65E274C99976}" destId="{ED85222B-E6BB-4621-8DB5-E948BD7C3996}" srcOrd="0" destOrd="0" presId="urn:microsoft.com/office/officeart/2016/7/layout/VerticalSolidActionList"/>
    <dgm:cxn modelId="{5481FB7C-8982-49AB-8234-30C496003B3D}" type="presOf" srcId="{414D82F7-3729-41B1-ACDD-37387B55755F}" destId="{1BBB2B38-2658-4E7C-9314-26048BBDD93A}" srcOrd="0" destOrd="0" presId="urn:microsoft.com/office/officeart/2016/7/layout/VerticalSolidActionList"/>
    <dgm:cxn modelId="{DDFE0A86-F29E-40E6-AA5B-66997BB796AC}" type="presOf" srcId="{D2DE6160-7E6E-4F2D-BBB5-40350562AF45}" destId="{9082D5E6-9951-4C52-B4FC-397395789BA9}" srcOrd="0" destOrd="0" presId="urn:microsoft.com/office/officeart/2016/7/layout/VerticalSolidActionList"/>
    <dgm:cxn modelId="{5756EE8B-493A-43F9-B25A-375B8210562C}" type="presOf" srcId="{AB532701-AE1C-46AC-97A2-7129DB00CCCD}" destId="{63B38DA1-A743-4B43-A438-D9A1BF34FBAC}" srcOrd="0" destOrd="0" presId="urn:microsoft.com/office/officeart/2016/7/layout/VerticalSolidActionList"/>
    <dgm:cxn modelId="{82B3EC9A-3EFD-46E7-8D05-0A272852FD39}" srcId="{42F0373C-888F-4702-B6DB-65E274C99976}" destId="{AB532701-AE1C-46AC-97A2-7129DB00CCCD}" srcOrd="0" destOrd="0" parTransId="{F0CE35DC-E994-4A2C-A182-852E8C0E0D7F}" sibTransId="{CB76958C-598A-43E8-9480-68135B11B0ED}"/>
    <dgm:cxn modelId="{164BC99C-6B37-42EE-AB57-81A6213652BC}" srcId="{587DECED-EF83-4D98-B931-0BE0254CF6E3}" destId="{8773A6B6-E179-4B9D-8DC7-0C70F33FA49A}" srcOrd="1" destOrd="0" parTransId="{BF4F9C2B-3A73-40C5-815D-1CE83C5D270A}" sibTransId="{2F72C342-4322-4BB3-B9DA-2295FB098283}"/>
    <dgm:cxn modelId="{9031C99E-F6AD-466F-AA31-5EA670302984}" srcId="{587DECED-EF83-4D98-B931-0BE0254CF6E3}" destId="{42F0373C-888F-4702-B6DB-65E274C99976}" srcOrd="4" destOrd="0" parTransId="{B5AA1D6D-06FA-4F27-817D-9FD62A48DB27}" sibTransId="{C7358285-CB6F-447E-B86B-F720F57277A8}"/>
    <dgm:cxn modelId="{10A72DA7-AC21-4943-A674-B074B73570A2}" srcId="{E93CF12C-86BF-49AD-8532-529BEDE86E74}" destId="{C26D3224-FAEF-4DF9-AA4F-2577EED1FACC}" srcOrd="0" destOrd="0" parTransId="{B699B625-7287-4BF2-9099-88D34BC56314}" sibTransId="{58F1A0F8-B0A8-486D-B98C-5FCD30BCEB81}"/>
    <dgm:cxn modelId="{DDCDC4D9-B28F-45E5-BDD4-45247B04F779}" srcId="{587DECED-EF83-4D98-B931-0BE0254CF6E3}" destId="{4F9889BB-B7B6-4826-9679-16A1E5A7E8D0}" srcOrd="2" destOrd="0" parTransId="{A0E7B06B-664D-468A-821C-BE55928689CD}" sibTransId="{C5407255-42FD-4C1A-8A37-C9849E436B26}"/>
    <dgm:cxn modelId="{6FA382E0-DD3A-44A6-BBA0-06C30D34014D}" type="presOf" srcId="{8773A6B6-E179-4B9D-8DC7-0C70F33FA49A}" destId="{1270C090-638E-46AC-BCBD-CF29FDAFFCC7}" srcOrd="0" destOrd="0" presId="urn:microsoft.com/office/officeart/2016/7/layout/VerticalSolidActionList"/>
    <dgm:cxn modelId="{064066E2-8F9A-4B17-BF65-5251BC2F6279}" srcId="{587DECED-EF83-4D98-B931-0BE0254CF6E3}" destId="{E93CF12C-86BF-49AD-8532-529BEDE86E74}" srcOrd="0" destOrd="0" parTransId="{17936144-BF8F-4681-BB5E-5E9406003BFC}" sibTransId="{56D40A7A-826A-4986-A47E-ED319B1E41A3}"/>
    <dgm:cxn modelId="{AB1845E7-8234-4726-8C37-D4674333C5BF}" srcId="{0948B2D5-0C18-40B8-8A89-9E1F160FA0CC}" destId="{91169252-83CD-4130-A0EE-BCE49DEFB060}" srcOrd="0" destOrd="0" parTransId="{0484CD70-499E-4388-8CDD-AE50C4272219}" sibTransId="{54B15753-DEC9-4645-81BE-FB4F71F82C7A}"/>
    <dgm:cxn modelId="{0FC614F9-BD53-487B-B74E-35B9CF95167C}" srcId="{4F9889BB-B7B6-4826-9679-16A1E5A7E8D0}" destId="{414D82F7-3729-41B1-ACDD-37387B55755F}" srcOrd="0" destOrd="0" parTransId="{E535C1D9-8308-4067-8E3A-355FB9774C75}" sibTransId="{12D618C2-776E-454E-BC71-C22BE44712AC}"/>
    <dgm:cxn modelId="{3C4EA392-453D-426C-B78C-3A61670B943D}" type="presParOf" srcId="{27FDF46C-D919-421F-B355-CADDD76B6127}" destId="{EF80C358-FE7A-4C8E-AF93-9FB60FA0FA6C}" srcOrd="0" destOrd="0" presId="urn:microsoft.com/office/officeart/2016/7/layout/VerticalSolidActionList"/>
    <dgm:cxn modelId="{E6B03BE1-17FB-4DAF-BB54-B5A5433AA118}" type="presParOf" srcId="{EF80C358-FE7A-4C8E-AF93-9FB60FA0FA6C}" destId="{E8035F2B-CF27-493A-8B83-20628B741266}" srcOrd="0" destOrd="0" presId="urn:microsoft.com/office/officeart/2016/7/layout/VerticalSolidActionList"/>
    <dgm:cxn modelId="{29B13081-6089-4BD4-A4CB-D275FAFE8714}" type="presParOf" srcId="{EF80C358-FE7A-4C8E-AF93-9FB60FA0FA6C}" destId="{FDD29677-53B6-434A-B857-0537C830234C}" srcOrd="1" destOrd="0" presId="urn:microsoft.com/office/officeart/2016/7/layout/VerticalSolidActionList"/>
    <dgm:cxn modelId="{4A06CE42-CAD0-4D49-9566-72BE5BBB8586}" type="presParOf" srcId="{27FDF46C-D919-421F-B355-CADDD76B6127}" destId="{1AF7E322-D9ED-4756-85CA-0588C66F1B1A}" srcOrd="1" destOrd="0" presId="urn:microsoft.com/office/officeart/2016/7/layout/VerticalSolidActionList"/>
    <dgm:cxn modelId="{D7ACF121-3243-4DAB-9BBE-39146FEAC592}" type="presParOf" srcId="{27FDF46C-D919-421F-B355-CADDD76B6127}" destId="{854A4A00-AE33-406A-91D8-5F13A73AE0AD}" srcOrd="2" destOrd="0" presId="urn:microsoft.com/office/officeart/2016/7/layout/VerticalSolidActionList"/>
    <dgm:cxn modelId="{8AAE8F9E-E11D-4139-BAC9-5C4D5884F378}" type="presParOf" srcId="{854A4A00-AE33-406A-91D8-5F13A73AE0AD}" destId="{1270C090-638E-46AC-BCBD-CF29FDAFFCC7}" srcOrd="0" destOrd="0" presId="urn:microsoft.com/office/officeart/2016/7/layout/VerticalSolidActionList"/>
    <dgm:cxn modelId="{375D2D5D-6432-47D0-BDAA-FD5174C406CE}" type="presParOf" srcId="{854A4A00-AE33-406A-91D8-5F13A73AE0AD}" destId="{9082D5E6-9951-4C52-B4FC-397395789BA9}" srcOrd="1" destOrd="0" presId="urn:microsoft.com/office/officeart/2016/7/layout/VerticalSolidActionList"/>
    <dgm:cxn modelId="{2C381D0D-66B7-4BFD-8747-1A28A3AD222B}" type="presParOf" srcId="{27FDF46C-D919-421F-B355-CADDD76B6127}" destId="{69AE6FBC-B9B1-4752-ADD6-AE6C4FCCDA23}" srcOrd="3" destOrd="0" presId="urn:microsoft.com/office/officeart/2016/7/layout/VerticalSolidActionList"/>
    <dgm:cxn modelId="{DAD1B871-557E-499A-8283-7895CAA50277}" type="presParOf" srcId="{27FDF46C-D919-421F-B355-CADDD76B6127}" destId="{5AF84B13-B772-440C-8318-BA293DA26966}" srcOrd="4" destOrd="0" presId="urn:microsoft.com/office/officeart/2016/7/layout/VerticalSolidActionList"/>
    <dgm:cxn modelId="{994289CE-6825-4EDA-899D-A4942F4C7625}" type="presParOf" srcId="{5AF84B13-B772-440C-8318-BA293DA26966}" destId="{B2DE01C5-E7FD-4809-B0FD-9D57ED276494}" srcOrd="0" destOrd="0" presId="urn:microsoft.com/office/officeart/2016/7/layout/VerticalSolidActionList"/>
    <dgm:cxn modelId="{9ED9061C-1EB7-46B1-950F-A7D4449D2BFD}" type="presParOf" srcId="{5AF84B13-B772-440C-8318-BA293DA26966}" destId="{1BBB2B38-2658-4E7C-9314-26048BBDD93A}" srcOrd="1" destOrd="0" presId="urn:microsoft.com/office/officeart/2016/7/layout/VerticalSolidActionList"/>
    <dgm:cxn modelId="{19BE1556-1BB6-4357-8958-1274E822CF74}" type="presParOf" srcId="{27FDF46C-D919-421F-B355-CADDD76B6127}" destId="{6D2F8964-0ABD-48D3-9B66-79012B88D28A}" srcOrd="5" destOrd="0" presId="urn:microsoft.com/office/officeart/2016/7/layout/VerticalSolidActionList"/>
    <dgm:cxn modelId="{41A55A3A-C734-4BA8-87F4-792F5358480C}" type="presParOf" srcId="{27FDF46C-D919-421F-B355-CADDD76B6127}" destId="{750FD77B-8DAD-4675-9A99-AFFE7F3CACF3}" srcOrd="6" destOrd="0" presId="urn:microsoft.com/office/officeart/2016/7/layout/VerticalSolidActionList"/>
    <dgm:cxn modelId="{1C78EAA6-02AC-4B9C-B74B-4D1D94168D01}" type="presParOf" srcId="{750FD77B-8DAD-4675-9A99-AFFE7F3CACF3}" destId="{0B8A6C56-54CF-4647-804E-B23D1946D6A2}" srcOrd="0" destOrd="0" presId="urn:microsoft.com/office/officeart/2016/7/layout/VerticalSolidActionList"/>
    <dgm:cxn modelId="{2D04C50B-E83D-4FC1-8CBC-CC03BB804BFE}" type="presParOf" srcId="{750FD77B-8DAD-4675-9A99-AFFE7F3CACF3}" destId="{B24A9C4E-62E5-4CD3-8211-1A8F155BF7EE}" srcOrd="1" destOrd="0" presId="urn:microsoft.com/office/officeart/2016/7/layout/VerticalSolidActionList"/>
    <dgm:cxn modelId="{8D2661A4-8FD9-4DFC-A2E7-E7B5A35BD91F}" type="presParOf" srcId="{27FDF46C-D919-421F-B355-CADDD76B6127}" destId="{A5E68B38-B4A3-44B0-ABCE-996AB2E9B99B}" srcOrd="7" destOrd="0" presId="urn:microsoft.com/office/officeart/2016/7/layout/VerticalSolidActionList"/>
    <dgm:cxn modelId="{A88B24F8-5314-4E9D-9EED-807E0BEC80FB}" type="presParOf" srcId="{27FDF46C-D919-421F-B355-CADDD76B6127}" destId="{4F76BC63-D024-4797-B7A7-64EDD5B67132}" srcOrd="8" destOrd="0" presId="urn:microsoft.com/office/officeart/2016/7/layout/VerticalSolidActionList"/>
    <dgm:cxn modelId="{852BF1C3-63FC-410E-837D-A82E3206F7E6}" type="presParOf" srcId="{4F76BC63-D024-4797-B7A7-64EDD5B67132}" destId="{ED85222B-E6BB-4621-8DB5-E948BD7C3996}" srcOrd="0" destOrd="0" presId="urn:microsoft.com/office/officeart/2016/7/layout/VerticalSolidActionList"/>
    <dgm:cxn modelId="{06FB1E85-AB68-49F8-B406-A0BA6671B468}" type="presParOf" srcId="{4F76BC63-D024-4797-B7A7-64EDD5B67132}" destId="{63B38DA1-A743-4B43-A438-D9A1BF34FBAC}" srcOrd="1" destOrd="0" presId="urn:microsoft.com/office/officeart/2016/7/layout/VerticalSolidAction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8C2BDA8-659B-4E6D-AF48-FE8868091F23}">
      <dsp:nvSpPr>
        <dsp:cNvPr id="0" name=""/>
        <dsp:cNvSpPr/>
      </dsp:nvSpPr>
      <dsp:spPr>
        <a:xfrm>
          <a:off x="0" y="607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D893A9-E1D6-4497-AED7-184B73D1CEFC}">
      <dsp:nvSpPr>
        <dsp:cNvPr id="0" name=""/>
        <dsp:cNvSpPr/>
      </dsp:nvSpPr>
      <dsp:spPr>
        <a:xfrm>
          <a:off x="199146" y="101942"/>
          <a:ext cx="1243573" cy="1218859"/>
        </a:xfrm>
        <a:prstGeom prst="rect">
          <a:avLst/>
        </a:prstGeom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2"/>
              </a:ext>
            </a:extLst>
          </a:blip>
          <a:srcRect/>
          <a:stretch>
            <a:fillRect l="-8000" r="-8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2B8D00B-172D-4BDB-9BB2-61BADEFE3498}">
      <dsp:nvSpPr>
        <dsp:cNvPr id="0" name=""/>
        <dsp:cNvSpPr/>
      </dsp:nvSpPr>
      <dsp:spPr>
        <a:xfrm>
          <a:off x="1641866" y="607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he health unit of the NGF Secretariat is responsible for coordinating all health-related interventions being championed by the Secretariat.</a:t>
          </a:r>
        </a:p>
      </dsp:txBody>
      <dsp:txXfrm>
        <a:off x="1641866" y="607"/>
        <a:ext cx="8985493" cy="1421529"/>
      </dsp:txXfrm>
    </dsp:sp>
    <dsp:sp modelId="{EF953CDC-D142-4A18-9115-FEE1E49DC8A8}">
      <dsp:nvSpPr>
        <dsp:cNvPr id="0" name=""/>
        <dsp:cNvSpPr/>
      </dsp:nvSpPr>
      <dsp:spPr>
        <a:xfrm>
          <a:off x="0" y="1777519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2C286ED-E008-41C4-98AA-F905D84607A5}">
      <dsp:nvSpPr>
        <dsp:cNvPr id="0" name=""/>
        <dsp:cNvSpPr/>
      </dsp:nvSpPr>
      <dsp:spPr>
        <a:xfrm>
          <a:off x="209306" y="1867607"/>
          <a:ext cx="1223253" cy="1241352"/>
        </a:xfrm>
        <a:prstGeom prst="rect">
          <a:avLst/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l="-2000" r="-2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020BF7-D86B-4CD6-BA6E-4C2F851E7B51}">
      <dsp:nvSpPr>
        <dsp:cNvPr id="0" name=""/>
        <dsp:cNvSpPr/>
      </dsp:nvSpPr>
      <dsp:spPr>
        <a:xfrm>
          <a:off x="1641866" y="1777519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 be the leading go-to resource and learning hub for catalyzing subnational health development and contributing to health SDGs.</a:t>
          </a:r>
        </a:p>
      </dsp:txBody>
      <dsp:txXfrm>
        <a:off x="1641866" y="1777519"/>
        <a:ext cx="8985493" cy="1421529"/>
      </dsp:txXfrm>
    </dsp:sp>
    <dsp:sp modelId="{62FAF933-2AAE-4405-98F9-A090FDAFC1D2}">
      <dsp:nvSpPr>
        <dsp:cNvPr id="0" name=""/>
        <dsp:cNvSpPr/>
      </dsp:nvSpPr>
      <dsp:spPr>
        <a:xfrm>
          <a:off x="0" y="3554431"/>
          <a:ext cx="10627360" cy="1421529"/>
        </a:xfrm>
        <a:prstGeom prst="roundRect">
          <a:avLst>
            <a:gd name="adj" fmla="val 10000"/>
          </a:avLst>
        </a:prstGeom>
        <a:solidFill>
          <a:schemeClr val="accent3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71CAB1-1EB9-4E94-A703-CC8CF472029D}">
      <dsp:nvSpPr>
        <dsp:cNvPr id="0" name=""/>
        <dsp:cNvSpPr/>
      </dsp:nvSpPr>
      <dsp:spPr>
        <a:xfrm>
          <a:off x="199146" y="3592632"/>
          <a:ext cx="1243573" cy="1345126"/>
        </a:xfrm>
        <a:prstGeom prst="rect">
          <a:avLst/>
        </a:prstGeom>
        <a:blipFill rotWithShape="1">
          <a:blip xmlns:r="http://schemas.openxmlformats.org/officeDocument/2006/relationships" r:embed="rId5"/>
          <a:srcRect/>
          <a:stretch>
            <a:fillRect l="-10000"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B870FE2-D677-4F8F-81FD-3A8EC122C3FD}">
      <dsp:nvSpPr>
        <dsp:cNvPr id="0" name=""/>
        <dsp:cNvSpPr/>
      </dsp:nvSpPr>
      <dsp:spPr>
        <a:xfrm>
          <a:off x="1641866" y="3554431"/>
          <a:ext cx="8985493" cy="1421529"/>
        </a:xfrm>
        <a:prstGeom prst="rect">
          <a:avLst/>
        </a:prstGeom>
        <a:solidFill>
          <a:schemeClr val="accent3">
            <a:lumMod val="20000"/>
            <a:lumOff val="80000"/>
          </a:schemeClr>
        </a:soli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0445" tIns="150445" rIns="150445" bIns="150445" numCol="1" spcCol="1270" anchor="ctr" anchorCtr="0">
          <a:noAutofit/>
        </a:bodyPr>
        <a:lstStyle/>
        <a:p>
          <a:pPr marL="0" lvl="0" indent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400" kern="1200" dirty="0"/>
            <a:t>To keep the NGF informed and up to date on health priorities and promote evidence-based decision-making &amp; actions, accountability, and learning for better health outcomes at the subnational level.</a:t>
          </a:r>
        </a:p>
      </dsp:txBody>
      <dsp:txXfrm>
        <a:off x="1641866" y="3554431"/>
        <a:ext cx="8985493" cy="14215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809BEA-B26A-427E-A2A2-E0A84CA5AD35}">
      <dsp:nvSpPr>
        <dsp:cNvPr id="0" name=""/>
        <dsp:cNvSpPr/>
      </dsp:nvSpPr>
      <dsp:spPr>
        <a:xfrm>
          <a:off x="3458" y="565841"/>
          <a:ext cx="1872674" cy="1123604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r Ahmad Abdulwahab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Senior Health Advisor</a:t>
          </a:r>
        </a:p>
      </dsp:txBody>
      <dsp:txXfrm>
        <a:off x="3458" y="565841"/>
        <a:ext cx="1872674" cy="1123604"/>
      </dsp:txXfrm>
    </dsp:sp>
    <dsp:sp modelId="{CFA6E101-D7E0-452B-A5AB-FACD49D3BFD3}">
      <dsp:nvSpPr>
        <dsp:cNvPr id="0" name=""/>
        <dsp:cNvSpPr/>
      </dsp:nvSpPr>
      <dsp:spPr>
        <a:xfrm>
          <a:off x="2063400" y="565841"/>
          <a:ext cx="1872674" cy="1123604"/>
        </a:xfrm>
        <a:prstGeom prst="rect">
          <a:avLst/>
        </a:prstGeom>
        <a:solidFill>
          <a:schemeClr val="accent2">
            <a:hueOff val="585190"/>
            <a:satOff val="-730"/>
            <a:lumOff val="17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r Chinekwu Oreh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Health Specialist</a:t>
          </a:r>
        </a:p>
      </dsp:txBody>
      <dsp:txXfrm>
        <a:off x="2063400" y="565841"/>
        <a:ext cx="1872674" cy="1123604"/>
      </dsp:txXfrm>
    </dsp:sp>
    <dsp:sp modelId="{1FC1F590-A572-43D4-85DA-3A17D6A6A6D5}">
      <dsp:nvSpPr>
        <dsp:cNvPr id="0" name=""/>
        <dsp:cNvSpPr/>
      </dsp:nvSpPr>
      <dsp:spPr>
        <a:xfrm>
          <a:off x="4123342" y="565841"/>
          <a:ext cx="1872674" cy="1123604"/>
        </a:xfrm>
        <a:prstGeom prst="rect">
          <a:avLst/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Dr Avuwa Oteri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Immunization Advisor</a:t>
          </a:r>
        </a:p>
      </dsp:txBody>
      <dsp:txXfrm>
        <a:off x="4123342" y="565841"/>
        <a:ext cx="1872674" cy="1123604"/>
      </dsp:txXfrm>
    </dsp:sp>
    <dsp:sp modelId="{B8BB311E-8116-44C9-9B9B-03F9591F826C}">
      <dsp:nvSpPr>
        <dsp:cNvPr id="0" name=""/>
        <dsp:cNvSpPr/>
      </dsp:nvSpPr>
      <dsp:spPr>
        <a:xfrm>
          <a:off x="6183284" y="565841"/>
          <a:ext cx="1872674" cy="1123604"/>
        </a:xfrm>
        <a:prstGeom prst="rect">
          <a:avLst/>
        </a:prstGeom>
        <a:solidFill>
          <a:schemeClr val="accent2">
            <a:hueOff val="1755570"/>
            <a:satOff val="-2190"/>
            <a:lumOff val="51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Maryam Yahaya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rogram officer</a:t>
          </a:r>
        </a:p>
      </dsp:txBody>
      <dsp:txXfrm>
        <a:off x="6183284" y="565841"/>
        <a:ext cx="1872674" cy="1123604"/>
      </dsp:txXfrm>
    </dsp:sp>
    <dsp:sp modelId="{3DE8F01B-B41B-4738-B971-3D7A13A4BB7E}">
      <dsp:nvSpPr>
        <dsp:cNvPr id="0" name=""/>
        <dsp:cNvSpPr/>
      </dsp:nvSpPr>
      <dsp:spPr>
        <a:xfrm>
          <a:off x="8243226" y="565841"/>
          <a:ext cx="1872674" cy="1123604"/>
        </a:xfrm>
        <a:prstGeom prst="rect">
          <a:avLst/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Marvellous Olatunji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MEAL Officer/Focal person for NHCF</a:t>
          </a:r>
        </a:p>
      </dsp:txBody>
      <dsp:txXfrm>
        <a:off x="8243226" y="565841"/>
        <a:ext cx="1872674" cy="1123604"/>
      </dsp:txXfrm>
    </dsp:sp>
    <dsp:sp modelId="{7F301B09-004C-4B29-8507-73FF9B081204}">
      <dsp:nvSpPr>
        <dsp:cNvPr id="0" name=""/>
        <dsp:cNvSpPr/>
      </dsp:nvSpPr>
      <dsp:spPr>
        <a:xfrm>
          <a:off x="1033429" y="1876713"/>
          <a:ext cx="1872674" cy="1123604"/>
        </a:xfrm>
        <a:prstGeom prst="rect">
          <a:avLst/>
        </a:prstGeom>
        <a:solidFill>
          <a:schemeClr val="accent2">
            <a:hueOff val="2925949"/>
            <a:satOff val="-3649"/>
            <a:lumOff val="8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Adeolu Adegbemil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Nutrition Policy Analyst</a:t>
          </a:r>
        </a:p>
      </dsp:txBody>
      <dsp:txXfrm>
        <a:off x="1033429" y="1876713"/>
        <a:ext cx="1872674" cy="1123604"/>
      </dsp:txXfrm>
    </dsp:sp>
    <dsp:sp modelId="{62453333-8AE8-4E48-906A-DCE3F372B80E}">
      <dsp:nvSpPr>
        <dsp:cNvPr id="0" name=""/>
        <dsp:cNvSpPr/>
      </dsp:nvSpPr>
      <dsp:spPr>
        <a:xfrm>
          <a:off x="3093371" y="1876713"/>
          <a:ext cx="1872674" cy="1123604"/>
        </a:xfrm>
        <a:prstGeom prst="rect">
          <a:avLst/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/>
            <a:t>Chidinma Ezenwa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/>
            <a:t>Nutrition Policy Advisor</a:t>
          </a:r>
        </a:p>
      </dsp:txBody>
      <dsp:txXfrm>
        <a:off x="3093371" y="1876713"/>
        <a:ext cx="1872674" cy="1123604"/>
      </dsp:txXfrm>
    </dsp:sp>
    <dsp:sp modelId="{6DBF53C6-D214-44BC-8612-E3C57F1144A9}">
      <dsp:nvSpPr>
        <dsp:cNvPr id="0" name=""/>
        <dsp:cNvSpPr/>
      </dsp:nvSpPr>
      <dsp:spPr>
        <a:xfrm>
          <a:off x="5153313" y="1876713"/>
          <a:ext cx="1872674" cy="1123604"/>
        </a:xfrm>
        <a:prstGeom prst="rect">
          <a:avLst/>
        </a:prstGeom>
        <a:solidFill>
          <a:schemeClr val="accent2">
            <a:hueOff val="4096329"/>
            <a:satOff val="-5109"/>
            <a:lumOff val="120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 err="1"/>
            <a:t>Abdulrasak</a:t>
          </a:r>
          <a:r>
            <a:rPr lang="en-US" sz="1700" kern="1200" dirty="0"/>
            <a:t> Are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Intern</a:t>
          </a:r>
        </a:p>
      </dsp:txBody>
      <dsp:txXfrm>
        <a:off x="5153313" y="1876713"/>
        <a:ext cx="1872674" cy="1123604"/>
      </dsp:txXfrm>
    </dsp:sp>
    <dsp:sp modelId="{3C268754-B594-40EB-864F-E69E80460640}">
      <dsp:nvSpPr>
        <dsp:cNvPr id="0" name=""/>
        <dsp:cNvSpPr/>
      </dsp:nvSpPr>
      <dsp:spPr>
        <a:xfrm>
          <a:off x="7213255" y="1876713"/>
          <a:ext cx="1872674" cy="1123604"/>
        </a:xfrm>
        <a:prstGeom prst="rect">
          <a:avLst/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700" kern="1200" dirty="0"/>
            <a:t>Dr Fatima Kumo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300" kern="1200" dirty="0"/>
            <a:t>Polio Focal point</a:t>
          </a:r>
        </a:p>
      </dsp:txBody>
      <dsp:txXfrm>
        <a:off x="7213255" y="1876713"/>
        <a:ext cx="1872674" cy="112360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C65B6E-0339-4C34-B92C-DFBBE4276239}">
      <dsp:nvSpPr>
        <dsp:cNvPr id="0" name=""/>
        <dsp:cNvSpPr/>
      </dsp:nvSpPr>
      <dsp:spPr>
        <a:xfrm>
          <a:off x="203246" y="32124"/>
          <a:ext cx="675682" cy="656242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7B9AAC-B1C2-4115-82AC-09770F92CB6E}">
      <dsp:nvSpPr>
        <dsp:cNvPr id="0" name=""/>
        <dsp:cNvSpPr/>
      </dsp:nvSpPr>
      <dsp:spPr>
        <a:xfrm>
          <a:off x="203246" y="778564"/>
          <a:ext cx="1930520" cy="281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>
              <a:ln>
                <a:noFill/>
              </a:ln>
              <a:solidFill>
                <a:schemeClr val="accent1"/>
              </a:solidFill>
            </a:rPr>
            <a:t>Presentations</a:t>
          </a:r>
        </a:p>
      </dsp:txBody>
      <dsp:txXfrm>
        <a:off x="203246" y="778564"/>
        <a:ext cx="1930520" cy="281246"/>
      </dsp:txXfrm>
    </dsp:sp>
    <dsp:sp modelId="{B0FE1283-07AC-4AB7-8DCA-46D1FE438A65}">
      <dsp:nvSpPr>
        <dsp:cNvPr id="0" name=""/>
        <dsp:cNvSpPr/>
      </dsp:nvSpPr>
      <dsp:spPr>
        <a:xfrm>
          <a:off x="11893" y="1101763"/>
          <a:ext cx="2313227" cy="1027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Monthly Health Presentations/Teleconference Meetings</a:t>
          </a:r>
        </a:p>
      </dsp:txBody>
      <dsp:txXfrm>
        <a:off x="11893" y="1101763"/>
        <a:ext cx="2313227" cy="1027979"/>
      </dsp:txXfrm>
    </dsp:sp>
    <dsp:sp modelId="{D30AE3F0-964C-4FB1-9E34-0C48CEBE4846}">
      <dsp:nvSpPr>
        <dsp:cNvPr id="0" name=""/>
        <dsp:cNvSpPr/>
      </dsp:nvSpPr>
      <dsp:spPr>
        <a:xfrm>
          <a:off x="2662961" y="32124"/>
          <a:ext cx="675682" cy="656242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D56C4DA-8E3C-4E36-BA7B-1C1F315B92BB}">
      <dsp:nvSpPr>
        <dsp:cNvPr id="0" name=""/>
        <dsp:cNvSpPr/>
      </dsp:nvSpPr>
      <dsp:spPr>
        <a:xfrm>
          <a:off x="2662961" y="778564"/>
          <a:ext cx="1930520" cy="281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>
              <a:ln>
                <a:noFill/>
              </a:ln>
              <a:solidFill>
                <a:schemeClr val="accent1"/>
              </a:solidFill>
            </a:rPr>
            <a:t>Scorecards</a:t>
          </a:r>
        </a:p>
      </dsp:txBody>
      <dsp:txXfrm>
        <a:off x="2662961" y="778564"/>
        <a:ext cx="1930520" cy="281246"/>
      </dsp:txXfrm>
    </dsp:sp>
    <dsp:sp modelId="{F8BF0B04-51D7-4176-9977-69BDEF1ECD58}">
      <dsp:nvSpPr>
        <dsp:cNvPr id="0" name=""/>
        <dsp:cNvSpPr/>
      </dsp:nvSpPr>
      <dsp:spPr>
        <a:xfrm>
          <a:off x="2662961" y="1101763"/>
          <a:ext cx="1930520" cy="1027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PHCUOR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Nutrition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UHC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DMA</a:t>
          </a:r>
        </a:p>
      </dsp:txBody>
      <dsp:txXfrm>
        <a:off x="2662961" y="1101763"/>
        <a:ext cx="1930520" cy="1027979"/>
      </dsp:txXfrm>
    </dsp:sp>
    <dsp:sp modelId="{FB052A07-4F6F-433D-AD25-677C3F9CAE72}">
      <dsp:nvSpPr>
        <dsp:cNvPr id="0" name=""/>
        <dsp:cNvSpPr/>
      </dsp:nvSpPr>
      <dsp:spPr>
        <a:xfrm>
          <a:off x="4931323" y="32124"/>
          <a:ext cx="675682" cy="656242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9525B86-F4B4-4C03-96BF-9F40A84DE9F9}">
      <dsp:nvSpPr>
        <dsp:cNvPr id="0" name=""/>
        <dsp:cNvSpPr/>
      </dsp:nvSpPr>
      <dsp:spPr>
        <a:xfrm>
          <a:off x="4931323" y="778564"/>
          <a:ext cx="1930520" cy="281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>
              <a:ln>
                <a:noFill/>
              </a:ln>
              <a:solidFill>
                <a:schemeClr val="accent1"/>
              </a:solidFill>
            </a:rPr>
            <a:t>Peer learning</a:t>
          </a:r>
        </a:p>
      </dsp:txBody>
      <dsp:txXfrm>
        <a:off x="4931323" y="778564"/>
        <a:ext cx="1930520" cy="281246"/>
      </dsp:txXfrm>
    </dsp:sp>
    <dsp:sp modelId="{A56416FA-ED63-49D5-9DD9-835CC3A6F2A0}">
      <dsp:nvSpPr>
        <dsp:cNvPr id="0" name=""/>
        <dsp:cNvSpPr/>
      </dsp:nvSpPr>
      <dsp:spPr>
        <a:xfrm>
          <a:off x="4931323" y="1101763"/>
          <a:ext cx="1930520" cy="1027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Best Practice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Experience sharing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n>
                <a:noFill/>
              </a:ln>
              <a:solidFill>
                <a:schemeClr val="accent1"/>
              </a:solidFill>
            </a:rPr>
            <a:t>Use </a:t>
          </a: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of champions</a:t>
          </a:r>
        </a:p>
      </dsp:txBody>
      <dsp:txXfrm>
        <a:off x="4931323" y="1101763"/>
        <a:ext cx="1930520" cy="1027979"/>
      </dsp:txXfrm>
    </dsp:sp>
    <dsp:sp modelId="{53E8FBB9-54A9-4801-B20D-BDB7A41B3110}">
      <dsp:nvSpPr>
        <dsp:cNvPr id="0" name=""/>
        <dsp:cNvSpPr/>
      </dsp:nvSpPr>
      <dsp:spPr>
        <a:xfrm>
          <a:off x="7199685" y="32124"/>
          <a:ext cx="675682" cy="656242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BD93BE6-B9FB-41E5-8537-2B159A06B61B}">
      <dsp:nvSpPr>
        <dsp:cNvPr id="0" name=""/>
        <dsp:cNvSpPr/>
      </dsp:nvSpPr>
      <dsp:spPr>
        <a:xfrm>
          <a:off x="7199685" y="778564"/>
          <a:ext cx="1930520" cy="281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>
              <a:ln>
                <a:noFill/>
              </a:ln>
              <a:solidFill>
                <a:schemeClr val="accent1"/>
              </a:solidFill>
            </a:rPr>
            <a:t>Feedback</a:t>
          </a:r>
        </a:p>
      </dsp:txBody>
      <dsp:txXfrm>
        <a:off x="7199685" y="778564"/>
        <a:ext cx="1930520" cy="281246"/>
      </dsp:txXfrm>
    </dsp:sp>
    <dsp:sp modelId="{9B58E029-D6B5-4CE2-BEA0-2D171DA7FB2F}">
      <dsp:nvSpPr>
        <dsp:cNvPr id="0" name=""/>
        <dsp:cNvSpPr/>
      </dsp:nvSpPr>
      <dsp:spPr>
        <a:xfrm>
          <a:off x="7199685" y="1101763"/>
          <a:ext cx="1930520" cy="1027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Interface with state MDA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Experience sharing meetings with state actor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State visits</a:t>
          </a:r>
        </a:p>
      </dsp:txBody>
      <dsp:txXfrm>
        <a:off x="7199685" y="1101763"/>
        <a:ext cx="1930520" cy="1027979"/>
      </dsp:txXfrm>
    </dsp:sp>
    <dsp:sp modelId="{909C9698-7CFA-498B-9233-252415FF2A12}">
      <dsp:nvSpPr>
        <dsp:cNvPr id="0" name=""/>
        <dsp:cNvSpPr/>
      </dsp:nvSpPr>
      <dsp:spPr>
        <a:xfrm>
          <a:off x="9468047" y="32124"/>
          <a:ext cx="675682" cy="656242"/>
        </a:xfrm>
        <a:prstGeom prst="rect">
          <a:avLst/>
        </a:prstGeom>
        <a:blipFill>
          <a:blip xmlns:r="http://schemas.openxmlformats.org/officeDocument/2006/relationships" r:embed="rId9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 t="-7000" b="-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CE2AE0-88B3-499F-BC4A-EE56758E7EA0}">
      <dsp:nvSpPr>
        <dsp:cNvPr id="0" name=""/>
        <dsp:cNvSpPr/>
      </dsp:nvSpPr>
      <dsp:spPr>
        <a:xfrm>
          <a:off x="9468047" y="778564"/>
          <a:ext cx="1930520" cy="281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  <a:defRPr b="1"/>
          </a:pPr>
          <a:r>
            <a:rPr lang="en-US" sz="1800" kern="1200" dirty="0">
              <a:ln>
                <a:noFill/>
              </a:ln>
              <a:solidFill>
                <a:schemeClr val="accent1"/>
              </a:solidFill>
            </a:rPr>
            <a:t>Partnership</a:t>
          </a:r>
        </a:p>
      </dsp:txBody>
      <dsp:txXfrm>
        <a:off x="9468047" y="778564"/>
        <a:ext cx="1930520" cy="281246"/>
      </dsp:txXfrm>
    </dsp:sp>
    <dsp:sp modelId="{341990E5-7D31-451C-B27C-A5F315E71E82}">
      <dsp:nvSpPr>
        <dsp:cNvPr id="0" name=""/>
        <dsp:cNvSpPr/>
      </dsp:nvSpPr>
      <dsp:spPr>
        <a:xfrm>
          <a:off x="9468047" y="1101763"/>
          <a:ext cx="1930520" cy="10279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Federal MDAS</a:t>
          </a:r>
        </a:p>
        <a:p>
          <a:pPr marL="0" lvl="0" indent="0" algn="l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>
              <a:ln>
                <a:noFill/>
              </a:ln>
              <a:solidFill>
                <a:schemeClr val="accent1"/>
              </a:solidFill>
            </a:rPr>
            <a:t>Development partners</a:t>
          </a:r>
        </a:p>
      </dsp:txBody>
      <dsp:txXfrm>
        <a:off x="9468047" y="1101763"/>
        <a:ext cx="1930520" cy="102797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DD29677-53B6-434A-B857-0537C830234C}">
      <dsp:nvSpPr>
        <dsp:cNvPr id="0" name=""/>
        <dsp:cNvSpPr/>
      </dsp:nvSpPr>
      <dsp:spPr>
        <a:xfrm>
          <a:off x="2103120" y="2195"/>
          <a:ext cx="8412480" cy="963477"/>
        </a:xfrm>
        <a:prstGeom prst="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225" tIns="244723" rIns="163225" bIns="244723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Use of Data by NGF for Prioritization, Decision Making and Accountability</a:t>
          </a:r>
        </a:p>
      </dsp:txBody>
      <dsp:txXfrm>
        <a:off x="2103120" y="2195"/>
        <a:ext cx="8412480" cy="963477"/>
      </dsp:txXfrm>
    </dsp:sp>
    <dsp:sp modelId="{E8035F2B-CF27-493A-8B83-20628B741266}">
      <dsp:nvSpPr>
        <dsp:cNvPr id="0" name=""/>
        <dsp:cNvSpPr/>
      </dsp:nvSpPr>
      <dsp:spPr>
        <a:xfrm>
          <a:off x="0" y="2195"/>
          <a:ext cx="2103120" cy="96347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1290" tIns="95170" rIns="111290" bIns="9517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Bill &amp; Melinda Gates Foundation:</a:t>
          </a:r>
          <a:r>
            <a:rPr lang="en-US" sz="1500" kern="1200"/>
            <a:t> </a:t>
          </a:r>
        </a:p>
      </dsp:txBody>
      <dsp:txXfrm>
        <a:off x="0" y="2195"/>
        <a:ext cx="2103120" cy="963477"/>
      </dsp:txXfrm>
    </dsp:sp>
    <dsp:sp modelId="{9082D5E6-9951-4C52-B4FC-397395789BA9}">
      <dsp:nvSpPr>
        <dsp:cNvPr id="0" name=""/>
        <dsp:cNvSpPr/>
      </dsp:nvSpPr>
      <dsp:spPr>
        <a:xfrm>
          <a:off x="2103120" y="1023481"/>
          <a:ext cx="8412480" cy="963477"/>
        </a:xfrm>
        <a:prstGeom prst="rect">
          <a:avLst/>
        </a:prstGeom>
        <a:solidFill>
          <a:schemeClr val="accent2">
            <a:tint val="40000"/>
            <a:alpha val="90000"/>
            <a:hueOff val="1256455"/>
            <a:satOff val="-1094"/>
            <a:lumOff val="-1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1256455"/>
              <a:satOff val="-1094"/>
              <a:lumOff val="-1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225" tIns="244723" rIns="163225" bIns="244723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PHC Leadership Challenge</a:t>
          </a:r>
        </a:p>
      </dsp:txBody>
      <dsp:txXfrm>
        <a:off x="2103120" y="1023481"/>
        <a:ext cx="8412480" cy="963477"/>
      </dsp:txXfrm>
    </dsp:sp>
    <dsp:sp modelId="{1270C090-638E-46AC-BCBD-CF29FDAFFCC7}">
      <dsp:nvSpPr>
        <dsp:cNvPr id="0" name=""/>
        <dsp:cNvSpPr/>
      </dsp:nvSpPr>
      <dsp:spPr>
        <a:xfrm>
          <a:off x="0" y="1023481"/>
          <a:ext cx="2103120" cy="963477"/>
        </a:xfrm>
        <a:prstGeom prst="rect">
          <a:avLst/>
        </a:prstGeom>
        <a:gradFill rotWithShape="0">
          <a:gsLst>
            <a:gs pos="0">
              <a:schemeClr val="accent2">
                <a:hueOff val="1170380"/>
                <a:satOff val="-1460"/>
                <a:lumOff val="343"/>
                <a:alphaOff val="0"/>
                <a:shade val="51000"/>
                <a:satMod val="130000"/>
              </a:schemeClr>
            </a:gs>
            <a:gs pos="80000">
              <a:schemeClr val="accent2">
                <a:hueOff val="1170380"/>
                <a:satOff val="-1460"/>
                <a:lumOff val="343"/>
                <a:alphaOff val="0"/>
                <a:shade val="93000"/>
                <a:satMod val="130000"/>
              </a:schemeClr>
            </a:gs>
            <a:gs pos="100000">
              <a:schemeClr val="accent2">
                <a:hueOff val="1170380"/>
                <a:satOff val="-1460"/>
                <a:lumOff val="343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1290" tIns="95170" rIns="111290" bIns="9517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BMGF/UNICEF/NPHCDA: </a:t>
          </a:r>
          <a:endParaRPr lang="en-US" sz="1500" kern="1200"/>
        </a:p>
      </dsp:txBody>
      <dsp:txXfrm>
        <a:off x="0" y="1023481"/>
        <a:ext cx="2103120" cy="963477"/>
      </dsp:txXfrm>
    </dsp:sp>
    <dsp:sp modelId="{1BBB2B38-2658-4E7C-9314-26048BBDD93A}">
      <dsp:nvSpPr>
        <dsp:cNvPr id="0" name=""/>
        <dsp:cNvSpPr/>
      </dsp:nvSpPr>
      <dsp:spPr>
        <a:xfrm>
          <a:off x="2103120" y="2044767"/>
          <a:ext cx="8412480" cy="963477"/>
        </a:xfrm>
        <a:prstGeom prst="rect">
          <a:avLst/>
        </a:prstGeom>
        <a:solidFill>
          <a:schemeClr val="accent2">
            <a:tint val="40000"/>
            <a:alpha val="90000"/>
            <a:hueOff val="2512910"/>
            <a:satOff val="-2189"/>
            <a:lumOff val="-3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2512910"/>
              <a:satOff val="-2189"/>
              <a:lumOff val="-3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225" tIns="244723" rIns="163225" bIns="244723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Support for Sub-National Engagement on Routine Immunization and COVID-19 Response</a:t>
          </a:r>
        </a:p>
      </dsp:txBody>
      <dsp:txXfrm>
        <a:off x="2103120" y="2044767"/>
        <a:ext cx="8412480" cy="963477"/>
      </dsp:txXfrm>
    </dsp:sp>
    <dsp:sp modelId="{B2DE01C5-E7FD-4809-B0FD-9D57ED276494}">
      <dsp:nvSpPr>
        <dsp:cNvPr id="0" name=""/>
        <dsp:cNvSpPr/>
      </dsp:nvSpPr>
      <dsp:spPr>
        <a:xfrm>
          <a:off x="0" y="2044767"/>
          <a:ext cx="2103120" cy="963477"/>
        </a:xfrm>
        <a:prstGeom prst="rect">
          <a:avLst/>
        </a:prstGeom>
        <a:gradFill rotWithShape="0">
          <a:gsLst>
            <a:gs pos="0">
              <a:schemeClr val="accent2">
                <a:hueOff val="2340759"/>
                <a:satOff val="-2919"/>
                <a:lumOff val="686"/>
                <a:alphaOff val="0"/>
                <a:shade val="51000"/>
                <a:satMod val="130000"/>
              </a:schemeClr>
            </a:gs>
            <a:gs pos="80000">
              <a:schemeClr val="accent2">
                <a:hueOff val="2340759"/>
                <a:satOff val="-2919"/>
                <a:lumOff val="686"/>
                <a:alphaOff val="0"/>
                <a:shade val="93000"/>
                <a:satMod val="130000"/>
              </a:schemeClr>
            </a:gs>
            <a:gs pos="100000">
              <a:schemeClr val="accent2">
                <a:hueOff val="2340759"/>
                <a:satOff val="-2919"/>
                <a:lumOff val="686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1290" tIns="95170" rIns="111290" bIns="9517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GAVI </a:t>
          </a:r>
          <a:endParaRPr lang="en-US" sz="1500" kern="1200" dirty="0"/>
        </a:p>
      </dsp:txBody>
      <dsp:txXfrm>
        <a:off x="0" y="2044767"/>
        <a:ext cx="2103120" cy="963477"/>
      </dsp:txXfrm>
    </dsp:sp>
    <dsp:sp modelId="{B24A9C4E-62E5-4CD3-8211-1A8F155BF7EE}">
      <dsp:nvSpPr>
        <dsp:cNvPr id="0" name=""/>
        <dsp:cNvSpPr/>
      </dsp:nvSpPr>
      <dsp:spPr>
        <a:xfrm>
          <a:off x="2103120" y="3066053"/>
          <a:ext cx="8412480" cy="963477"/>
        </a:xfrm>
        <a:prstGeom prst="rect">
          <a:avLst/>
        </a:prstGeom>
        <a:solidFill>
          <a:schemeClr val="accent2">
            <a:tint val="40000"/>
            <a:alpha val="90000"/>
            <a:hueOff val="3769366"/>
            <a:satOff val="-3283"/>
            <a:lumOff val="-4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3769366"/>
              <a:satOff val="-3283"/>
              <a:lumOff val="-4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225" tIns="244723" rIns="163225" bIns="244723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b="1" kern="1200" dirty="0"/>
            <a:t>Nutrition</a:t>
          </a:r>
          <a:endParaRPr lang="en-US" sz="1600" kern="1200" dirty="0"/>
        </a:p>
      </dsp:txBody>
      <dsp:txXfrm>
        <a:off x="2103120" y="3066053"/>
        <a:ext cx="8412480" cy="963477"/>
      </dsp:txXfrm>
    </dsp:sp>
    <dsp:sp modelId="{0B8A6C56-54CF-4647-804E-B23D1946D6A2}">
      <dsp:nvSpPr>
        <dsp:cNvPr id="0" name=""/>
        <dsp:cNvSpPr/>
      </dsp:nvSpPr>
      <dsp:spPr>
        <a:xfrm>
          <a:off x="0" y="3066053"/>
          <a:ext cx="2103120" cy="963477"/>
        </a:xfrm>
        <a:prstGeom prst="rect">
          <a:avLst/>
        </a:prstGeom>
        <a:gradFill rotWithShape="0">
          <a:gsLst>
            <a:gs pos="0">
              <a:schemeClr val="accent2">
                <a:hueOff val="3511139"/>
                <a:satOff val="-4379"/>
                <a:lumOff val="1030"/>
                <a:alphaOff val="0"/>
                <a:shade val="51000"/>
                <a:satMod val="130000"/>
              </a:schemeClr>
            </a:gs>
            <a:gs pos="80000">
              <a:schemeClr val="accent2">
                <a:hueOff val="3511139"/>
                <a:satOff val="-4379"/>
                <a:lumOff val="1030"/>
                <a:alphaOff val="0"/>
                <a:shade val="93000"/>
                <a:satMod val="130000"/>
              </a:schemeClr>
            </a:gs>
            <a:gs pos="100000">
              <a:schemeClr val="accent2">
                <a:hueOff val="3511139"/>
                <a:satOff val="-4379"/>
                <a:lumOff val="1030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1290" tIns="95170" rIns="111290" bIns="9517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 dirty="0"/>
            <a:t>UNICEF</a:t>
          </a:r>
          <a:endParaRPr lang="en-US" sz="1500" kern="1200" dirty="0"/>
        </a:p>
      </dsp:txBody>
      <dsp:txXfrm>
        <a:off x="0" y="3066053"/>
        <a:ext cx="2103120" cy="963477"/>
      </dsp:txXfrm>
    </dsp:sp>
    <dsp:sp modelId="{63B38DA1-A743-4B43-A438-D9A1BF34FBAC}">
      <dsp:nvSpPr>
        <dsp:cNvPr id="0" name=""/>
        <dsp:cNvSpPr/>
      </dsp:nvSpPr>
      <dsp:spPr>
        <a:xfrm>
          <a:off x="2103120" y="4087339"/>
          <a:ext cx="8412480" cy="963477"/>
        </a:xfrm>
        <a:prstGeom prst="rect">
          <a:avLst/>
        </a:prstGeom>
        <a:solidFill>
          <a:schemeClr val="accent2">
            <a:tint val="40000"/>
            <a:alpha val="90000"/>
            <a:hueOff val="5025821"/>
            <a:satOff val="-4378"/>
            <a:lumOff val="-6"/>
            <a:alphaOff val="0"/>
          </a:schemeClr>
        </a:solidFill>
        <a:ln w="9525" cap="flat" cmpd="sng" algn="ctr">
          <a:solidFill>
            <a:schemeClr val="accent2">
              <a:tint val="40000"/>
              <a:alpha val="90000"/>
              <a:hueOff val="5025821"/>
              <a:satOff val="-4378"/>
              <a:lumOff val="-6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225" tIns="244723" rIns="163225" bIns="244723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Nutrition financing</a:t>
          </a:r>
        </a:p>
      </dsp:txBody>
      <dsp:txXfrm>
        <a:off x="2103120" y="4087339"/>
        <a:ext cx="8412480" cy="963477"/>
      </dsp:txXfrm>
    </dsp:sp>
    <dsp:sp modelId="{ED85222B-E6BB-4621-8DB5-E948BD7C3996}">
      <dsp:nvSpPr>
        <dsp:cNvPr id="0" name=""/>
        <dsp:cNvSpPr/>
      </dsp:nvSpPr>
      <dsp:spPr>
        <a:xfrm>
          <a:off x="0" y="4087339"/>
          <a:ext cx="2103120" cy="963477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shade val="51000"/>
                <a:satMod val="130000"/>
              </a:schemeClr>
            </a:gs>
            <a:gs pos="80000">
              <a:schemeClr val="accent2">
                <a:hueOff val="4681519"/>
                <a:satOff val="-5839"/>
                <a:lumOff val="1373"/>
                <a:alphaOff val="0"/>
                <a:shade val="93000"/>
                <a:satMod val="130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1290" tIns="95170" rIns="111290" bIns="9517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b="1" kern="1200"/>
            <a:t>Results for Development: </a:t>
          </a:r>
          <a:endParaRPr lang="en-US" sz="1500" kern="1200"/>
        </a:p>
      </dsp:txBody>
      <dsp:txXfrm>
        <a:off x="0" y="4087339"/>
        <a:ext cx="2103120" cy="96347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18/2/layout/IconLabelDescriptionList">
  <dgm:title val="Icon Label Description List"/>
  <dgm:desc val="Use to show non-sequential or grouped chunks of information. The placeholder holds an icon or small picture, and corresponding text boxes show Level 1 and Level 2 text respectively. Works well for minimal Level 1 text accompanied by lengthier Level two text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Node" refType="h" fact="0.45"/>
      <dgm:constr type="w" for="ch" forName="compNode" val="120"/>
      <dgm:constr type="w" for="ch" forName="sibTrans" refType="w" refFor="ch" refForName="compNode" fact="0.175"/>
      <dgm:constr type="primFontSz" for="des" forName="parTx" val="36"/>
      <dgm:constr type="primFontSz" for="des" forName="desTx" refType="primFontSz" refFor="des" refForName="parTx" op="lte" fact="0.75"/>
      <dgm:constr type="h" for="des" forName="compNode" op="equ"/>
      <dgm:constr type="h" for="des" forName="iconRect" op="equ"/>
      <dgm:constr type="w" for="des" forName="iconRect" op="equ"/>
      <dgm:constr type="h" for="des" forName="iconSpace" op="equ"/>
      <dgm:constr type="h" for="des" forName="parTx" op="equ"/>
      <dgm:constr type="h" for="des" forName="txSpace" op="equ"/>
      <dgm:constr type="h" for="des" forName="desTx" op="equ"/>
    </dgm:constrLst>
    <dgm:ruleLst>
      <dgm:rule type="w" for="ch" forName="compNode" val="0" fact="NaN" max="NaN"/>
    </dgm:ruleLst>
    <dgm:forEach name="Name3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35"/>
          <dgm:constr type="h" for="ch" forName="iconRect" refType="w" refFor="ch" refForName="iconRect"/>
          <dgm:constr type="l" for="ch" forName="iconRect"/>
          <dgm:constr type="t" for="ch" forName="iconRect"/>
          <dgm:constr type="w" for="ch" forName="iconSpace" refType="w"/>
          <dgm:constr type="h" for="ch" forName="iconSpace" refType="h" fact="0.043"/>
          <dgm:constr type="l" for="ch" forName="iconSpace"/>
          <dgm:constr type="t" for="ch" forName="iconSpace" refType="b" refFor="ch" refForName="iconRect"/>
          <dgm:constr type="w" for="ch" forName="parTx" refType="w"/>
          <dgm:constr type="h" for="ch" forName="parTx" refType="w" fact="0.15"/>
          <dgm:constr type="l" for="ch" forName="parTx"/>
          <dgm:constr type="t" for="ch" forName="parTx" refType="b" refFor="ch" refForName="iconSpace"/>
          <dgm:constr type="h" for="ch" forName="txSpace" refType="h" fact="0.02"/>
          <dgm:constr type="w" for="ch" forName="txSpace" refType="w"/>
          <dgm:constr type="l" for="ch" forName="txSpace"/>
          <dgm:constr type="t" for="ch" forName="txSpace" refType="b" refFor="ch" refForName="parTx"/>
          <dgm:constr type="w" for="ch" forName="desTx" refType="w"/>
          <dgm:constr type="l" for="ch" forName="desTx"/>
          <dgm:constr type="t" for="ch" forName="desTx" refType="b" refFor="ch" refForName="txSpace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icon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4" fact="NaN" max="NaN"/>
            <dgm:rule type="h" val="INF" fact="NaN" max="NaN"/>
          </dgm:ruleLst>
        </dgm:layoutNode>
        <dgm:layoutNode name="tx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desTx" styleLbl="revTx">
          <dgm:varLst/>
          <dgm:alg type="tx">
            <dgm:param type="stBulletLvl" val="0"/>
            <dgm:param type="txAnchorVert" val="t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refType="primFontSz"/>
            <dgm:constr type="lMarg"/>
            <dgm:constr type="rMarg"/>
            <dgm:constr type="tMarg"/>
            <dgm:constr type="bMarg"/>
          </dgm:constrLst>
          <dgm:ruleLst>
            <dgm:rule type="primFontSz" val="NaN" fact="NaN" max="17"/>
            <dgm:rule type="h" val="INF" fact="NaN" max="NaN"/>
          </dgm:ruleLst>
        </dgm:layoutNode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  <a:defRPr b="1"/>
        </a:lvl1pPr>
        <a:lvl2pPr>
          <a:lnSpc>
            <a:spcPct val="100000"/>
          </a:lnSpc>
        </a:lvl2pPr>
      </dgm1612:lstStyle>
    </a:ext>
  </dgm:extLst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16/7/layout/VerticalSolidActionList">
  <dgm:title val="Vertical Solid Action List"/>
  <dgm:desc val="Use to show non-sequential or grouped lists of information. Works well with large amounts of text. All text has the same level of emphasis, and direction is not implied."/>
  <dgm:catLst>
    <dgm:cat type="list" pri="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  <dgm:pt modelId="5">
          <dgm:prSet phldr="1"/>
        </dgm:pt>
        <dgm:pt modelId="5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7" srcId="0" destId="4" srcOrd="3" destOrd="0"/>
        <dgm:cxn modelId="8" srcId="0" destId="5" srcOrd="4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  <dgm:cxn modelId="53" srcId="5" destId="5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6"/>
      <dgm:constr type="primFontSz" for="des" forName="parentText" op="equ" val="28"/>
      <dgm:constr type="primFontSz" for="des" forName="descendantText" refType="primFontSz" refFor="des" refForName="parentText" op="lte" fact="0.82"/>
      <dgm:constr type="primFontSz" for="des" forName="parentText" refType="primFontSz" refFor="des" refForName="descendantText" op="lte" fact="1.25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2"/>
          <dgm:constr type="w" for="ch" forName="descendantText" refType="w" fact="0.8"/>
          <dgm:constr type="h" for="ch" forName="parentText" refType="h"/>
          <dgm:constr type="h" for="ch" forName="descendantText" refType="h" refFor="ch" refForName="parentText"/>
        </dgm:constrLst>
        <dgm:ruleLst/>
        <dgm:layoutNode name="parentText" styleLbl="alignNode1">
          <dgm:varLst>
            <dgm:chMax val="1"/>
            <dgm:bulletEnabled/>
          </dgm:varLst>
          <dgm:alg type="tx"/>
          <dgm:shape xmlns:r="http://schemas.openxmlformats.org/officeDocument/2006/relationships" type="rect" r:blip="" zOrderOff="3">
            <dgm:adjLst/>
          </dgm:shape>
          <dgm:presOf axis="self" ptType="node"/>
          <dgm:constrLst>
            <dgm:constr type="tMarg" refType="h" fact="0.28"/>
            <dgm:constr type="bMarg" refType="h" fact="0.28"/>
            <dgm:constr type="lMarg" refType="w" fact="0.15"/>
            <dgm:constr type="rMarg" refType="w" fact="0.15"/>
          </dgm:constrLst>
          <dgm:ruleLst>
            <dgm:rule type="primFontSz" val="15" fact="NaN" max="NaN"/>
          </dgm:ruleLst>
        </dgm:layoutNode>
        <dgm:layoutNode name="descendantText" styleLbl="alignAccFollowNode1">
          <dgm:varLst>
            <dgm:bulletEnabled/>
          </dgm:varLst>
          <dgm:alg type="tx">
            <dgm:param type="stBulletLvl" val="0"/>
            <dgm:param type="parTxLTRAlign" val="l"/>
            <dgm:param type="shpTxLTRAlignCh" val="l"/>
            <dgm:param type="parTxRTLAlign" val="r"/>
            <dgm:param type="shpTxRTLAlignCh" val="r"/>
          </dgm:alg>
          <dgm:choose name="Name10">
            <dgm:if name="Name11" func="var" arg="dir" op="equ" val="norm">
              <dgm:shape xmlns:r="http://schemas.openxmlformats.org/officeDocument/2006/relationships" type="rect" r:blip="">
                <dgm:adjLst/>
              </dgm:shape>
            </dgm:if>
            <dgm:else name="Name12">
              <dgm:shape xmlns:r="http://schemas.openxmlformats.org/officeDocument/2006/relationships" type="rect" r:blip="">
                <dgm:adjLst/>
              </dgm:shape>
            </dgm:else>
          </dgm:choose>
          <dgm:presOf axis="des" ptType="node"/>
          <dgm:constrLst>
            <dgm:constr type="primFontSz" val="24"/>
            <dgm:constr type="lMarg" refType="w" fact="0.055"/>
            <dgm:constr type="rMarg" refType="w" fact="0.055"/>
            <dgm:constr type="tMarg" refType="h" fact="0.72"/>
            <dgm:constr type="bMarg" refType="h" fact="0.72"/>
          </dgm:constrLst>
          <dgm:ruleLst>
            <dgm:rule type="primFontSz" val="11" fact="NaN" max="NaN"/>
          </dgm:ruleLst>
        </dgm:layoutNod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349616F-C991-43E7-B441-0B29E80910D4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BCD5FE2-9F0A-43C4-A48B-B17B24FE243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7731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1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1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3"/>
            <a:ext cx="53848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3"/>
            <a:ext cx="4011084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6FBF06B-7B72-4316-854D-9EADF4CB87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7142649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6FBF06B-7B72-4316-854D-9EADF4CB87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867EFE-F7E9-4360-B460-281DCC72F44C}" type="datetimeFigureOut">
              <a:rPr lang="en-US" smtClean="0"/>
              <a:t>11/3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3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3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173D5D-412C-4826-A8F8-78B1DF426FC9}" type="slidenum">
              <a:rPr lang="en-US" smtClean="0"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dioncologa.com/2016/08/que-es-un-patient-advocate/" TargetMode="External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A348E9E2-72A6-4981-B9AE-587BBBFDE290}"/>
              </a:ext>
            </a:extLst>
          </p:cNvPr>
          <p:cNvSpPr txBox="1"/>
          <p:nvPr/>
        </p:nvSpPr>
        <p:spPr>
          <a:xfrm>
            <a:off x="1749083" y="1469229"/>
            <a:ext cx="869383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endParaRPr lang="en-US" sz="4400" b="1" dirty="0">
              <a:solidFill>
                <a:srgbClr val="003E1C"/>
              </a:solidFill>
            </a:endParaRPr>
          </a:p>
          <a:p>
            <a:pPr algn="ctr"/>
            <a:r>
              <a:rPr lang="en-US" sz="4400" b="1" dirty="0">
                <a:solidFill>
                  <a:srgbClr val="003E1C"/>
                </a:solidFill>
              </a:rPr>
              <a:t>NGF and its work in Health</a:t>
            </a:r>
          </a:p>
          <a:p>
            <a:r>
              <a:rPr lang="en-US" sz="2000" b="1" dirty="0"/>
              <a:t>			</a:t>
            </a:r>
          </a:p>
          <a:p>
            <a:pPr algn="ctr"/>
            <a:r>
              <a:rPr lang="en-US" sz="2000" b="1" dirty="0"/>
              <a:t>3</a:t>
            </a:r>
            <a:r>
              <a:rPr lang="en-US" sz="2000" b="1" baseline="30000" dirty="0"/>
              <a:t>rd</a:t>
            </a:r>
            <a:r>
              <a:rPr lang="en-US" sz="2000" b="1" dirty="0"/>
              <a:t> November, 2023</a:t>
            </a:r>
          </a:p>
        </p:txBody>
      </p:sp>
    </p:spTree>
    <p:extLst>
      <p:ext uri="{BB962C8B-B14F-4D97-AF65-F5344CB8AC3E}">
        <p14:creationId xmlns:p14="http://schemas.microsoft.com/office/powerpoint/2010/main" val="3513984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8E65EC-0948-B1AB-D6F2-9F10B89590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r Requests</a:t>
            </a:r>
            <a:endParaRPr lang="en-NG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661A0F-B426-030A-7D3E-2C204D5D73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931" y="1609534"/>
            <a:ext cx="10972800" cy="4525963"/>
          </a:xfrm>
        </p:spPr>
        <p:txBody>
          <a:bodyPr/>
          <a:lstStyle/>
          <a:p>
            <a:r>
              <a:rPr lang="en-US" dirty="0"/>
              <a:t>Share relevant documents with the secretariat </a:t>
            </a:r>
          </a:p>
          <a:p>
            <a:pPr lvl="1"/>
            <a:r>
              <a:rPr lang="en-US" dirty="0"/>
              <a:t>Bills and Laws; Reports, Manuals and guidelines</a:t>
            </a:r>
          </a:p>
          <a:p>
            <a:pPr lvl="1"/>
            <a:r>
              <a:rPr lang="en-US" dirty="0"/>
              <a:t>Review State Health Profiles and share feedback</a:t>
            </a:r>
          </a:p>
          <a:p>
            <a:pPr lvl="1"/>
            <a:r>
              <a:rPr lang="en-US" dirty="0"/>
              <a:t>NGF Executive Summary: call for contributions</a:t>
            </a:r>
          </a:p>
          <a:p>
            <a:r>
              <a:rPr lang="en-US" dirty="0"/>
              <a:t>Support consultants sent to document best practices</a:t>
            </a:r>
          </a:p>
          <a:p>
            <a:pPr lvl="1"/>
            <a:r>
              <a:rPr lang="en-US" dirty="0"/>
              <a:t>Zipline and HEFEMAA ongoing</a:t>
            </a:r>
          </a:p>
          <a:p>
            <a:pPr lvl="1"/>
            <a:r>
              <a:rPr lang="en-US" dirty="0"/>
              <a:t>Other States to share best practices</a:t>
            </a:r>
          </a:p>
          <a:p>
            <a:endParaRPr lang="en-US" dirty="0"/>
          </a:p>
          <a:p>
            <a:pPr lvl="1"/>
            <a:endParaRPr lang="en-NG" dirty="0"/>
          </a:p>
        </p:txBody>
      </p:sp>
    </p:spTree>
    <p:extLst>
      <p:ext uri="{BB962C8B-B14F-4D97-AF65-F5344CB8AC3E}">
        <p14:creationId xmlns:p14="http://schemas.microsoft.com/office/powerpoint/2010/main" val="2440141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0BBAFB-EAE3-5364-7D18-A99FD55411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691266"/>
            <a:ext cx="10972800" cy="1143000"/>
          </a:xfrm>
        </p:spPr>
        <p:txBody>
          <a:bodyPr/>
          <a:lstStyle/>
          <a:p>
            <a:r>
              <a:rPr lang="en-GB" sz="6600" b="1" dirty="0"/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40554270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FC27071-8D25-4711-BE53-68FAFB689C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56713" y="558311"/>
            <a:ext cx="8229600" cy="1143000"/>
          </a:xfrm>
        </p:spPr>
        <p:txBody>
          <a:bodyPr/>
          <a:lstStyle/>
          <a:p>
            <a:r>
              <a:rPr lang="en-US" b="1" dirty="0"/>
              <a:t>Background</a:t>
            </a:r>
            <a:endParaRPr lang="en-GB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A52039F-66EB-435C-97BD-0E7C8B042F9A}"/>
              </a:ext>
            </a:extLst>
          </p:cNvPr>
          <p:cNvSpPr txBox="1"/>
          <p:nvPr/>
        </p:nvSpPr>
        <p:spPr>
          <a:xfrm>
            <a:off x="397324" y="1635838"/>
            <a:ext cx="5574851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dirty="0"/>
              <a:t>The</a:t>
            </a:r>
            <a:r>
              <a:rPr lang="en-US" b="1" dirty="0">
                <a:solidFill>
                  <a:srgbClr val="017F01"/>
                </a:solidFill>
              </a:rPr>
              <a:t> </a:t>
            </a:r>
            <a:r>
              <a:rPr lang="en-US" b="1" dirty="0">
                <a:solidFill>
                  <a:srgbClr val="00B050"/>
                </a:solidFill>
              </a:rPr>
              <a:t>Nigeria Governors Forum </a:t>
            </a:r>
            <a:r>
              <a:rPr lang="en-GB" dirty="0"/>
              <a:t>is a non-partisan platform of all the 36 Executive Governors in Nigeria to promote collaboration, good governance and sustainable development</a:t>
            </a:r>
            <a:r>
              <a:rPr lang="en-GB" b="1" dirty="0"/>
              <a:t>. </a:t>
            </a:r>
          </a:p>
          <a:p>
            <a:pPr algn="just"/>
            <a:endParaRPr lang="en-GB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dirty="0"/>
              <a:t>Meets at least once a month </a:t>
            </a:r>
          </a:p>
          <a:p>
            <a:pPr algn="just"/>
            <a:endParaRPr lang="en-GB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dirty="0"/>
              <a:t>Has a Secretariat which is the technical and administrative arm of the Forum that helps to set the agenda and priorities of the Forum</a:t>
            </a:r>
          </a:p>
          <a:p>
            <a:pPr algn="just"/>
            <a:endParaRPr lang="en-GB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GB" dirty="0"/>
              <a:t>Secretariat through evidence, guided the NGF to identify 4 priorities in health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en-GB" dirty="0"/>
              <a:t>UHC; Health Security, Immunization and Nutrition</a:t>
            </a:r>
          </a:p>
          <a:p>
            <a:pPr lvl="1" algn="just"/>
            <a:endParaRPr lang="en-GB" sz="1600" dirty="0"/>
          </a:p>
          <a:p>
            <a:pPr algn="just"/>
            <a:endParaRPr lang="en-GB" sz="2000" dirty="0"/>
          </a:p>
        </p:txBody>
      </p:sp>
      <p:pic>
        <p:nvPicPr>
          <p:cNvPr id="2" name="Picture 1" descr="A group of people sitting in a round room&#10;&#10;Description automatically generated with medium confidence">
            <a:extLst>
              <a:ext uri="{FF2B5EF4-FFF2-40B4-BE49-F238E27FC236}">
                <a16:creationId xmlns:a16="http://schemas.microsoft.com/office/drawing/2014/main" id="{3E2CAA9D-CFBE-B2EA-A772-FF2CCC8B01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175" y="1390650"/>
            <a:ext cx="6219825" cy="4648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4521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7981BF65-D19D-D80F-C924-B7D01489FE05}"/>
              </a:ext>
            </a:extLst>
          </p:cNvPr>
          <p:cNvSpPr txBox="1"/>
          <p:nvPr/>
        </p:nvSpPr>
        <p:spPr>
          <a:xfrm>
            <a:off x="3769360" y="25400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About the Health Team</a:t>
            </a:r>
            <a:endParaRPr lang="en-NG" sz="2800" b="1" dirty="0"/>
          </a:p>
        </p:txBody>
      </p:sp>
      <p:graphicFrame>
        <p:nvGraphicFramePr>
          <p:cNvPr id="9" name="TextBox 2">
            <a:extLst>
              <a:ext uri="{FF2B5EF4-FFF2-40B4-BE49-F238E27FC236}">
                <a16:creationId xmlns:a16="http://schemas.microsoft.com/office/drawing/2014/main" id="{8E84DDCD-37E1-B5D2-A8B4-F4A891D5CC9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8376347"/>
              </p:ext>
            </p:extLst>
          </p:nvPr>
        </p:nvGraphicFramePr>
        <p:xfrm>
          <a:off x="528320" y="1178561"/>
          <a:ext cx="10627360" cy="49765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92261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6A5B58-399B-B045-B995-30416640D3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alth Team Members</a:t>
            </a:r>
            <a:endParaRPr lang="en-NG" dirty="0"/>
          </a:p>
        </p:txBody>
      </p:sp>
      <p:graphicFrame>
        <p:nvGraphicFramePr>
          <p:cNvPr id="4" name="Content Placeholder 2">
            <a:extLst>
              <a:ext uri="{FF2B5EF4-FFF2-40B4-BE49-F238E27FC236}">
                <a16:creationId xmlns:a16="http://schemas.microsoft.com/office/drawing/2014/main" id="{A3F979C7-7084-E276-1724-8DCC352A10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9385209"/>
              </p:ext>
            </p:extLst>
          </p:nvPr>
        </p:nvGraphicFramePr>
        <p:xfrm>
          <a:off x="1036320" y="2048333"/>
          <a:ext cx="10119360" cy="35661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5942028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7805457-598E-573A-9B2E-16252A2F02BB}"/>
              </a:ext>
            </a:extLst>
          </p:cNvPr>
          <p:cNvSpPr txBox="1"/>
          <p:nvPr/>
        </p:nvSpPr>
        <p:spPr>
          <a:xfrm>
            <a:off x="421640" y="1273893"/>
            <a:ext cx="10505440" cy="4628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spcBef>
                <a:spcPts val="200"/>
              </a:spcBef>
            </a:pPr>
            <a:r>
              <a:rPr lang="en-US" sz="2400" b="1" kern="100" dirty="0">
                <a:effectLst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What We Do</a:t>
            </a:r>
            <a:endParaRPr lang="en-NG" sz="2400" b="1" kern="100" dirty="0">
              <a:effectLst/>
              <a:latin typeface="Calibri Light" panose="020F030202020403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US" sz="2400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leverage our convening powers to support States to achieve their health goals through 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idence Generation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igh-Level Advocacy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ource Mobilization 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countability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rtnerships</a:t>
            </a:r>
          </a:p>
          <a:p>
            <a:pPr marL="342900" indent="-342900" algn="just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2400" b="1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pacity Building</a:t>
            </a:r>
            <a:endParaRPr lang="en-US" sz="2400" kern="100" dirty="0">
              <a:solidFill>
                <a:schemeClr val="accent3">
                  <a:lumMod val="50000"/>
                </a:schemeClr>
              </a:solidFill>
              <a:effectLst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en-US" sz="2400" kern="100" dirty="0">
                <a:solidFill>
                  <a:schemeClr val="accent3">
                    <a:lumMod val="50000"/>
                  </a:schemeClr>
                </a:solidFill>
                <a:effectLst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e also engage with other key stakeholders at the federal </a:t>
            </a:r>
            <a:r>
              <a:rPr lang="en-US" sz="2400" kern="100" dirty="0">
                <a:solidFill>
                  <a:schemeClr val="accent3">
                    <a:lumMod val="50000"/>
                  </a:schemeClr>
                </a:solidFill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vel.</a:t>
            </a:r>
            <a:endParaRPr lang="en-NG" sz="2400" kern="100" dirty="0">
              <a:solidFill>
                <a:schemeClr val="accent3">
                  <a:lumMod val="50000"/>
                </a:schemeClr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5D3701E-2FFE-549C-B440-C681EE81DE93}"/>
              </a:ext>
            </a:extLst>
          </p:cNvPr>
          <p:cNvSpPr txBox="1"/>
          <p:nvPr/>
        </p:nvSpPr>
        <p:spPr>
          <a:xfrm>
            <a:off x="3769360" y="254000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/>
              <a:t>About the Health Team</a:t>
            </a:r>
            <a:endParaRPr lang="en-NG" sz="2800" b="1" dirty="0"/>
          </a:p>
        </p:txBody>
      </p:sp>
      <p:pic>
        <p:nvPicPr>
          <p:cNvPr id="12" name="Picture 11" descr="A picture containing cloud, outdoor, text, sky&#10;&#10;Description automatically generated">
            <a:extLst>
              <a:ext uri="{FF2B5EF4-FFF2-40B4-BE49-F238E27FC236}">
                <a16:creationId xmlns:a16="http://schemas.microsoft.com/office/drawing/2014/main" id="{3510677C-5DEA-06BC-C913-857CE7F0D1C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6422592" y="2503931"/>
            <a:ext cx="4814367" cy="2758949"/>
          </a:xfrm>
          <a:prstGeom prst="rect">
            <a:avLst/>
          </a:prstGeom>
          <a:effectLst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4124593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E53BE45C-33E3-760D-8D0D-3B1DA7A93EF8}"/>
              </a:ext>
            </a:extLst>
          </p:cNvPr>
          <p:cNvSpPr txBox="1"/>
          <p:nvPr/>
        </p:nvSpPr>
        <p:spPr>
          <a:xfrm>
            <a:off x="3769360" y="311163"/>
            <a:ext cx="3810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About the Health Team</a:t>
            </a:r>
            <a:endParaRPr lang="en-NG" sz="2800" b="1" dirty="0"/>
          </a:p>
        </p:txBody>
      </p:sp>
      <p:graphicFrame>
        <p:nvGraphicFramePr>
          <p:cNvPr id="2" name="Content Placeholder 2">
            <a:extLst>
              <a:ext uri="{FF2B5EF4-FFF2-40B4-BE49-F238E27FC236}">
                <a16:creationId xmlns:a16="http://schemas.microsoft.com/office/drawing/2014/main" id="{BB6A7615-D767-5D74-1EDD-018D69C393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47056257"/>
              </p:ext>
            </p:extLst>
          </p:nvPr>
        </p:nvGraphicFramePr>
        <p:xfrm>
          <a:off x="781539" y="2800350"/>
          <a:ext cx="11410462" cy="2161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9CF89242-4792-1B6E-C7D4-FE73EBE1DC11}"/>
              </a:ext>
            </a:extLst>
          </p:cNvPr>
          <p:cNvSpPr txBox="1"/>
          <p:nvPr/>
        </p:nvSpPr>
        <p:spPr>
          <a:xfrm>
            <a:off x="781538" y="1336431"/>
            <a:ext cx="17975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How we Work</a:t>
            </a:r>
            <a:endParaRPr lang="en-NG" b="1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FB1E50-79E1-7B86-EE49-A3407EF86BFB}"/>
              </a:ext>
            </a:extLst>
          </p:cNvPr>
          <p:cNvSpPr txBox="1"/>
          <p:nvPr/>
        </p:nvSpPr>
        <p:spPr>
          <a:xfrm>
            <a:off x="3261725" y="1599362"/>
            <a:ext cx="5501271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latin typeface="Aptos Black" panose="020B0004020202020204" pitchFamily="34" charset="0"/>
              </a:rPr>
              <a:t>Collate and Analyze Data to Generate Evidence</a:t>
            </a:r>
            <a:endParaRPr lang="en-NG" b="1" dirty="0">
              <a:solidFill>
                <a:schemeClr val="bg1"/>
              </a:solidFill>
              <a:latin typeface="Aptos Black" panose="020B0004020202020204" pitchFamily="34" charset="0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A466BAE1-F7E4-2F48-BC62-595EB2F9A6D6}"/>
              </a:ext>
            </a:extLst>
          </p:cNvPr>
          <p:cNvCxnSpPr>
            <a:cxnSpLocks/>
          </p:cNvCxnSpPr>
          <p:nvPr/>
        </p:nvCxnSpPr>
        <p:spPr>
          <a:xfrm flipH="1">
            <a:off x="2305050" y="2068707"/>
            <a:ext cx="3522101" cy="885825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AAF5194E-BB59-A7AF-6A9E-81E85F8F9A44}"/>
              </a:ext>
            </a:extLst>
          </p:cNvPr>
          <p:cNvCxnSpPr>
            <a:cxnSpLocks/>
          </p:cNvCxnSpPr>
          <p:nvPr/>
        </p:nvCxnSpPr>
        <p:spPr>
          <a:xfrm>
            <a:off x="5960501" y="2068707"/>
            <a:ext cx="0" cy="664968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DED98028-DF20-F255-B5D2-53A9F0FEDCB1}"/>
              </a:ext>
            </a:extLst>
          </p:cNvPr>
          <p:cNvCxnSpPr>
            <a:cxnSpLocks/>
          </p:cNvCxnSpPr>
          <p:nvPr/>
        </p:nvCxnSpPr>
        <p:spPr>
          <a:xfrm>
            <a:off x="6069574" y="2035369"/>
            <a:ext cx="3522101" cy="764980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8C0F69C2-92FE-2B8E-741F-DDA7D49DD434}"/>
              </a:ext>
            </a:extLst>
          </p:cNvPr>
          <p:cNvCxnSpPr>
            <a:cxnSpLocks/>
          </p:cNvCxnSpPr>
          <p:nvPr/>
        </p:nvCxnSpPr>
        <p:spPr>
          <a:xfrm>
            <a:off x="2919828" y="4950589"/>
            <a:ext cx="0" cy="664968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CA559BBE-EC0B-4012-6967-048014596330}"/>
              </a:ext>
            </a:extLst>
          </p:cNvPr>
          <p:cNvCxnSpPr>
            <a:cxnSpLocks/>
          </p:cNvCxnSpPr>
          <p:nvPr/>
        </p:nvCxnSpPr>
        <p:spPr>
          <a:xfrm>
            <a:off x="5139153" y="4950589"/>
            <a:ext cx="0" cy="664968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6EDB5EBE-EB7B-E0DE-C037-E2AD5C402880}"/>
              </a:ext>
            </a:extLst>
          </p:cNvPr>
          <p:cNvCxnSpPr>
            <a:cxnSpLocks/>
          </p:cNvCxnSpPr>
          <p:nvPr/>
        </p:nvCxnSpPr>
        <p:spPr>
          <a:xfrm>
            <a:off x="7339428" y="4908048"/>
            <a:ext cx="0" cy="664968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0AE34488-6941-0396-0D75-E52C05C07991}"/>
              </a:ext>
            </a:extLst>
          </p:cNvPr>
          <p:cNvCxnSpPr>
            <a:cxnSpLocks/>
          </p:cNvCxnSpPr>
          <p:nvPr/>
        </p:nvCxnSpPr>
        <p:spPr>
          <a:xfrm>
            <a:off x="10035003" y="4841621"/>
            <a:ext cx="0" cy="787654"/>
          </a:xfrm>
          <a:prstGeom prst="straightConnector1">
            <a:avLst/>
          </a:prstGeom>
          <a:ln w="508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3303BED-8C21-7D20-B229-62BA02C4B6F7}"/>
              </a:ext>
            </a:extLst>
          </p:cNvPr>
          <p:cNvSpPr txBox="1"/>
          <p:nvPr/>
        </p:nvSpPr>
        <p:spPr>
          <a:xfrm>
            <a:off x="1352549" y="5793873"/>
            <a:ext cx="9620245" cy="461665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</a:rPr>
              <a:t>Evidence-based Decision and Better Health Outcomes</a:t>
            </a:r>
            <a:endParaRPr lang="en-NG" sz="2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4065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D52DC037-C422-4EDD-B2A7-7D6C95867C7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29" y="2285820"/>
            <a:ext cx="5055892" cy="41738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F6871AA-EBAE-419B-AAC7-8F4676392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</a:t>
            </a:r>
            <a:endParaRPr lang="en-NG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1EFD35-F88F-431B-A4DB-38EF38E6E1E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0609" y="2512204"/>
            <a:ext cx="4362450" cy="353824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85A5C98-1A00-4270-94AB-4D8394174A29}"/>
              </a:ext>
            </a:extLst>
          </p:cNvPr>
          <p:cNvSpPr txBox="1"/>
          <p:nvPr/>
        </p:nvSpPr>
        <p:spPr>
          <a:xfrm>
            <a:off x="7120887" y="6116534"/>
            <a:ext cx="1922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003E1C"/>
                </a:solidFill>
              </a:rPr>
              <a:t>August, 202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6184B1C-28C9-404F-B67E-A0073C7A3568}"/>
              </a:ext>
            </a:extLst>
          </p:cNvPr>
          <p:cNvSpPr/>
          <p:nvPr/>
        </p:nvSpPr>
        <p:spPr>
          <a:xfrm>
            <a:off x="6523134" y="2677817"/>
            <a:ext cx="247125" cy="334829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9287A4C-EF49-41E3-B182-EE0F1D7DCA13}"/>
              </a:ext>
            </a:extLst>
          </p:cNvPr>
          <p:cNvSpPr txBox="1"/>
          <p:nvPr/>
        </p:nvSpPr>
        <p:spPr>
          <a:xfrm>
            <a:off x="2238123" y="6143450"/>
            <a:ext cx="19221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003E1C"/>
                </a:solidFill>
              </a:rPr>
              <a:t>July, 2019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6C4DDD-7BB7-48C9-ABE2-7E54476C09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9583" y="527160"/>
            <a:ext cx="11180477" cy="5114110"/>
          </a:xfrm>
        </p:spPr>
        <p:txBody>
          <a:bodyPr>
            <a:normAutofit/>
          </a:bodyPr>
          <a:lstStyle/>
          <a:p>
            <a:pPr marL="0" lvl="0" indent="0">
              <a:lnSpc>
                <a:spcPct val="107000"/>
              </a:lnSpc>
              <a:buNone/>
            </a:pPr>
            <a:endParaRPr lang="en-GB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lvl="0" indent="0">
              <a:lnSpc>
                <a:spcPct val="107000"/>
              </a:lnSpc>
              <a:buNone/>
            </a:pPr>
            <a:endParaRPr lang="en-GB" sz="1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lvl="0" indent="0">
              <a:lnSpc>
                <a:spcPct val="107000"/>
              </a:lnSpc>
              <a:buNone/>
            </a:pPr>
            <a:r>
              <a:rPr lang="en-GB" sz="1600" b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tate Social health Insurance Scheme</a:t>
            </a:r>
          </a:p>
          <a:p>
            <a:pPr marL="642938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b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5 States and the FCT have established a SSHIS, the remaining State  (Rivers) have passed the bill but are yet to take off</a:t>
            </a:r>
            <a:endParaRPr lang="en-NG" sz="1400" b="1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42938" lvl="1" indent="-342900">
              <a:lnSpc>
                <a:spcPct val="107000"/>
              </a:lnSpc>
              <a:buFont typeface="Courier New" panose="02070309020205020404" pitchFamily="49" charset="0"/>
              <a:buChar char="o"/>
            </a:pPr>
            <a:r>
              <a:rPr lang="en-GB" sz="1400" b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6 States have commenced enrolment of beneficiaries while 18 States have started accessing care</a:t>
            </a:r>
            <a:endParaRPr lang="en-NG" sz="1400" b="1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42938" lvl="1" indent="-342900">
              <a:lnSpc>
                <a:spcPct val="107000"/>
              </a:lnSpc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en-GB" sz="1400" b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bout 7 million persons enrolled</a:t>
            </a:r>
            <a:endParaRPr lang="en-GB" sz="1400" b="1" dirty="0">
              <a:solidFill>
                <a:srgbClr val="003E1C"/>
              </a:solidFill>
            </a:endParaRPr>
          </a:p>
          <a:p>
            <a:endParaRPr lang="en-NG" sz="1400" dirty="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EC990CB-21DE-467C-944B-8BE78367ECD7}"/>
              </a:ext>
            </a:extLst>
          </p:cNvPr>
          <p:cNvSpPr/>
          <p:nvPr/>
        </p:nvSpPr>
        <p:spPr>
          <a:xfrm>
            <a:off x="1577596" y="2985795"/>
            <a:ext cx="360335" cy="3040320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" name="Teardrop 14">
            <a:extLst>
              <a:ext uri="{FF2B5EF4-FFF2-40B4-BE49-F238E27FC236}">
                <a16:creationId xmlns:a16="http://schemas.microsoft.com/office/drawing/2014/main" id="{F2CD8B2E-A7D8-4808-956A-4C411D6C0E9F}"/>
              </a:ext>
            </a:extLst>
          </p:cNvPr>
          <p:cNvSpPr/>
          <p:nvPr/>
        </p:nvSpPr>
        <p:spPr>
          <a:xfrm rot="20551478">
            <a:off x="1336306" y="6126492"/>
            <a:ext cx="537804" cy="348864"/>
          </a:xfrm>
          <a:prstGeom prst="teardrop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003E1C"/>
                </a:solidFill>
              </a:rPr>
              <a:t>23</a:t>
            </a:r>
          </a:p>
        </p:txBody>
      </p:sp>
      <p:sp>
        <p:nvSpPr>
          <p:cNvPr id="16" name="Teardrop 15">
            <a:extLst>
              <a:ext uri="{FF2B5EF4-FFF2-40B4-BE49-F238E27FC236}">
                <a16:creationId xmlns:a16="http://schemas.microsoft.com/office/drawing/2014/main" id="{F57BEA9D-35ED-470C-B22D-13B896EF04D3}"/>
              </a:ext>
            </a:extLst>
          </p:cNvPr>
          <p:cNvSpPr/>
          <p:nvPr/>
        </p:nvSpPr>
        <p:spPr>
          <a:xfrm rot="20551478">
            <a:off x="6284110" y="6126181"/>
            <a:ext cx="530071" cy="350371"/>
          </a:xfrm>
          <a:prstGeom prst="teardrop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003E1C"/>
                </a:solidFill>
              </a:rPr>
              <a:t>34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5017F94-4380-4301-88DC-9DE95431A4FB}"/>
              </a:ext>
            </a:extLst>
          </p:cNvPr>
          <p:cNvSpPr/>
          <p:nvPr/>
        </p:nvSpPr>
        <p:spPr>
          <a:xfrm>
            <a:off x="4079316" y="2985795"/>
            <a:ext cx="503174" cy="2940473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388216C-CD5B-4AC9-B831-60721F1103EB}"/>
              </a:ext>
            </a:extLst>
          </p:cNvPr>
          <p:cNvSpPr/>
          <p:nvPr/>
        </p:nvSpPr>
        <p:spPr>
          <a:xfrm>
            <a:off x="8969037" y="2742787"/>
            <a:ext cx="391885" cy="32903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ardrop 18">
            <a:extLst>
              <a:ext uri="{FF2B5EF4-FFF2-40B4-BE49-F238E27FC236}">
                <a16:creationId xmlns:a16="http://schemas.microsoft.com/office/drawing/2014/main" id="{B8D43BC2-0D69-488C-A0A7-AA4D034E45D6}"/>
              </a:ext>
            </a:extLst>
          </p:cNvPr>
          <p:cNvSpPr/>
          <p:nvPr/>
        </p:nvSpPr>
        <p:spPr>
          <a:xfrm rot="20551478">
            <a:off x="8628709" y="6134756"/>
            <a:ext cx="670980" cy="339961"/>
          </a:xfrm>
          <a:prstGeom prst="teardrop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003E1C"/>
                </a:solidFill>
              </a:rPr>
              <a:t>26</a:t>
            </a:r>
          </a:p>
        </p:txBody>
      </p:sp>
      <p:sp>
        <p:nvSpPr>
          <p:cNvPr id="20" name="Teardrop 19">
            <a:extLst>
              <a:ext uri="{FF2B5EF4-FFF2-40B4-BE49-F238E27FC236}">
                <a16:creationId xmlns:a16="http://schemas.microsoft.com/office/drawing/2014/main" id="{8073934E-E35F-47F1-ABA7-4394A8B235CF}"/>
              </a:ext>
            </a:extLst>
          </p:cNvPr>
          <p:cNvSpPr/>
          <p:nvPr/>
        </p:nvSpPr>
        <p:spPr>
          <a:xfrm rot="20551478">
            <a:off x="3894962" y="6027760"/>
            <a:ext cx="527693" cy="367014"/>
          </a:xfrm>
          <a:prstGeom prst="teardrop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dirty="0">
                <a:solidFill>
                  <a:srgbClr val="003E1C"/>
                </a:solidFill>
              </a:rPr>
              <a:t>11</a:t>
            </a:r>
            <a:endParaRPr lang="en-GB" dirty="0">
              <a:solidFill>
                <a:srgbClr val="003E1C"/>
              </a:solidFill>
            </a:endParaRPr>
          </a:p>
        </p:txBody>
      </p:sp>
      <p:sp>
        <p:nvSpPr>
          <p:cNvPr id="21" name="Text Box 2">
            <a:extLst>
              <a:ext uri="{FF2B5EF4-FFF2-40B4-BE49-F238E27FC236}">
                <a16:creationId xmlns:a16="http://schemas.microsoft.com/office/drawing/2014/main" id="{022C5FD7-BC06-4701-84C7-8854261BB2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72134" y="2511278"/>
            <a:ext cx="2031014" cy="3458254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Osun Case for SSHIS</a:t>
            </a:r>
            <a:r>
              <a:rPr lang="en-US" sz="1200" b="1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GB" sz="1100" b="1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blem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Osun State had difficulties kicking off the state health insurance scheme because take off grant had not been released. </a:t>
            </a:r>
            <a:endParaRPr lang="en-GB" sz="1100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on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State health team presented the SSHIS scorecard to the NGF</a:t>
            </a:r>
            <a:r>
              <a:rPr lang="en-US" sz="1200" i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with calls to action the Governors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sult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state governor approved the release of the take-off grant. Osun SSHIS is currently running smoothly.</a:t>
            </a:r>
            <a:endParaRPr lang="en-GB" sz="1100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i="1" dirty="0">
                <a:solidFill>
                  <a:srgbClr val="4472C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65561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6871AA-EBAE-419B-AAC7-8F4676392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</a:t>
            </a:r>
            <a:endParaRPr lang="en-NG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26C4DDD-7BB7-48C9-ABE2-7E54476C09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70638" y="3510244"/>
            <a:ext cx="4329438" cy="4708525"/>
          </a:xfrm>
        </p:spPr>
        <p:txBody>
          <a:bodyPr>
            <a:normAutofit/>
          </a:bodyPr>
          <a:lstStyle/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r>
              <a:rPr lang="en-GB" sz="16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trition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8 additional States have created multi sectoral coordination mechanism for Nutrition i.e. States Committee on Food and Nutrition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7 additional States have</a:t>
            </a:r>
            <a:r>
              <a:rPr lang="en-GB" sz="1400" b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ecorded improvements in at least one commitment area for strengthening Nutrition.</a:t>
            </a:r>
          </a:p>
          <a:p>
            <a:pPr lvl="1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GB" sz="1400" b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ational Council on Nutrition adopted and upscaled scorecard to National Nutrition Scorecard</a:t>
            </a:r>
            <a:endParaRPr lang="en-NG" sz="1400" b="1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None/>
            </a:pPr>
            <a:endParaRPr lang="en-GB" sz="1600" b="1" dirty="0"/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</a:pPr>
            <a:endParaRPr lang="en-GB" sz="1600" b="1" dirty="0"/>
          </a:p>
          <a:p>
            <a:pPr>
              <a:lnSpc>
                <a:spcPct val="220000"/>
              </a:lnSpc>
            </a:pPr>
            <a:endParaRPr lang="en-GB" sz="1600" b="1" dirty="0"/>
          </a:p>
          <a:p>
            <a:pPr>
              <a:lnSpc>
                <a:spcPct val="220000"/>
              </a:lnSpc>
            </a:pPr>
            <a:endParaRPr lang="en-NG" sz="16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5CAF07-28FB-4BE0-AE7C-76ECA1C774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19564" y="1061978"/>
            <a:ext cx="3278629" cy="48965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8ABEF9-8AFC-4AAB-9E75-CFDAF41610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70690" y="1313158"/>
            <a:ext cx="3042654" cy="4708525"/>
          </a:xfrm>
          <a:prstGeom prst="rect">
            <a:avLst/>
          </a:prstGeom>
        </p:spPr>
      </p:pic>
      <p:sp>
        <p:nvSpPr>
          <p:cNvPr id="7" name="Text Box 2">
            <a:extLst>
              <a:ext uri="{FF2B5EF4-FFF2-40B4-BE49-F238E27FC236}">
                <a16:creationId xmlns:a16="http://schemas.microsoft.com/office/drawing/2014/main" id="{DA52E117-2E74-4B91-B108-F22F201D3E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1131" y="1340291"/>
            <a:ext cx="3726903" cy="2169953"/>
          </a:xfrm>
          <a:prstGeom prst="rect">
            <a:avLst/>
          </a:prstGeom>
          <a:noFill/>
          <a:ln w="28575">
            <a:solidFill>
              <a:srgbClr val="C00000"/>
            </a:solidFill>
            <a:miter lim="800000"/>
            <a:headEnd/>
            <a:tailEnd/>
          </a:ln>
        </p:spPr>
        <p:txBody>
          <a:bodyPr rot="0" vert="horz" wrap="square" lIns="91440" tIns="45720" rIns="91440" bIns="45720" anchor="t" anchorCtr="0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Nutrition Scorecard Features</a:t>
            </a:r>
            <a:r>
              <a:rPr lang="en-US" sz="1200" b="1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en-GB" sz="1100" b="1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corecard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lour-coded; indicators selected for key commitment areas. Governors see how at one glance, how their states perform when compared to other states.</a:t>
            </a:r>
            <a:endParaRPr lang="en-GB" sz="1100" dirty="0">
              <a:solidFill>
                <a:srgbClr val="003E1C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 specific observations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he State progress on commitments is clear stated in the observation box. Note that the state with </a:t>
            </a:r>
            <a:r>
              <a:rPr lang="en-US" sz="1200" b="1" i="1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 improvement 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s clearly stated.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US" sz="1200" b="1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ll to Action</a:t>
            </a:r>
            <a:r>
              <a:rPr lang="en-US" sz="1200" i="1" dirty="0">
                <a:solidFill>
                  <a:srgbClr val="C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en-US" sz="1200" i="1" dirty="0">
                <a:solidFill>
                  <a:srgbClr val="003E1C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GB" sz="1200" i="1" dirty="0">
                <a:solidFill>
                  <a:srgbClr val="003E1C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te specific calls to action are clearly stated.</a:t>
            </a:r>
            <a:r>
              <a:rPr lang="en-US" sz="1200" i="1" dirty="0">
                <a:solidFill>
                  <a:srgbClr val="4472C4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GB" sz="11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58508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EFC9511-7023-8D0C-ADCC-898873807B2B}"/>
              </a:ext>
            </a:extLst>
          </p:cNvPr>
          <p:cNvSpPr txBox="1"/>
          <p:nvPr/>
        </p:nvSpPr>
        <p:spPr>
          <a:xfrm>
            <a:off x="4297680" y="273016"/>
            <a:ext cx="40538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Current Partnerships</a:t>
            </a:r>
            <a:endParaRPr lang="en-NG" sz="2800" b="1" dirty="0"/>
          </a:p>
        </p:txBody>
      </p:sp>
      <p:graphicFrame>
        <p:nvGraphicFramePr>
          <p:cNvPr id="2" name="Content Placeholder 2">
            <a:extLst>
              <a:ext uri="{FF2B5EF4-FFF2-40B4-BE49-F238E27FC236}">
                <a16:creationId xmlns:a16="http://schemas.microsoft.com/office/drawing/2014/main" id="{15CA7D3F-5257-C878-B183-9F6D817423A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86969099"/>
              </p:ext>
            </p:extLst>
          </p:nvPr>
        </p:nvGraphicFramePr>
        <p:xfrm>
          <a:off x="666750" y="1257300"/>
          <a:ext cx="10515600" cy="50530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82235463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C520998C167D0E4594674AE2327A74E3" ma:contentTypeVersion="18" ma:contentTypeDescription="Create a new document." ma:contentTypeScope="" ma:versionID="9e0b30eada036d42be499aa4ca8d9ee4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c2b5bf9d-c050-44dc-8f78-c5852c023fef" targetNamespace="http://schemas.microsoft.com/office/2006/metadata/properties" ma:root="true" ma:fieldsID="76826ebe8285205f5633b06a299ac83a" ns1:_="" ns2:_="" ns3:_="">
    <xsd:import namespace="http://schemas.microsoft.com/sharepoint/v3"/>
    <xsd:import namespace="2af4539b-39f3-4771-ac1a-16de5a20c394"/>
    <xsd:import namespace="c2b5bf9d-c050-44dc-8f78-c5852c023fe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2:SharedWithUsers" minOccurs="0"/>
                <xsd:element ref="ns2:SharedWithDetails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1:_ip_UnifiedCompliancePolicyProperties" minOccurs="0"/>
                <xsd:element ref="ns1:_ip_UnifiedCompliancePolicyUIActio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5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6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b5bf9d-c050-44dc-8f78-c5852c023f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_ip_UnifiedCompliancePolicyProperties xmlns="http://schemas.microsoft.com/sharepoint/v3" xsi:nil="true"/>
    <kd16009dc51444af92aa78db77815af5 xmlns="2af4539b-39f3-4771-ac1a-16de5a20c394">
      <Terms xmlns="http://schemas.microsoft.com/office/infopath/2007/PartnerControls"/>
    </kd16009dc51444af92aa78db77815af5>
    <TaxCatchAll xmlns="2af4539b-39f3-4771-ac1a-16de5a20c394"/>
    <SharedWithUsers xmlns="2af4539b-39f3-4771-ac1a-16de5a20c394">
      <UserInfo>
        <DisplayName>Yashodhara Rana</DisplayName>
        <AccountId>23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A052DFEF-19FA-400F-8BF6-BF350693118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49B16A-2CEA-435A-9E1F-7B230876C15A}">
  <ds:schemaRefs>
    <ds:schemaRef ds:uri="2af4539b-39f3-4771-ac1a-16de5a20c394"/>
    <ds:schemaRef ds:uri="c2b5bf9d-c050-44dc-8f78-c5852c023fe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0AFBC87-7F36-4A8E-9464-F129F7A10B61}">
  <ds:schemaRefs>
    <ds:schemaRef ds:uri="http://schemas.microsoft.com/office/2006/documentManagement/types"/>
    <ds:schemaRef ds:uri="2af4539b-39f3-4771-ac1a-16de5a20c394"/>
    <ds:schemaRef ds:uri="http://purl.org/dc/terms/"/>
    <ds:schemaRef ds:uri="http://schemas.microsoft.com/sharepoint/v3"/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c2b5bf9d-c050-44dc-8f78-c5852c023fe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117</TotalTime>
  <Words>672</Words>
  <Application>Microsoft Office PowerPoint</Application>
  <PresentationFormat>Widescreen</PresentationFormat>
  <Paragraphs>118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ptos Black</vt:lpstr>
      <vt:lpstr>Arial</vt:lpstr>
      <vt:lpstr>Arial Narrow</vt:lpstr>
      <vt:lpstr>Calibri</vt:lpstr>
      <vt:lpstr>Calibri Light</vt:lpstr>
      <vt:lpstr>Courier New</vt:lpstr>
      <vt:lpstr>Office Theme</vt:lpstr>
      <vt:lpstr>think-cell Slide</vt:lpstr>
      <vt:lpstr>PowerPoint Presentation</vt:lpstr>
      <vt:lpstr>Background</vt:lpstr>
      <vt:lpstr>PowerPoint Presentation</vt:lpstr>
      <vt:lpstr>Health Team Members</vt:lpstr>
      <vt:lpstr>PowerPoint Presentation</vt:lpstr>
      <vt:lpstr>PowerPoint Presentation</vt:lpstr>
      <vt:lpstr>Results </vt:lpstr>
      <vt:lpstr>Results</vt:lpstr>
      <vt:lpstr>PowerPoint Presentation</vt:lpstr>
      <vt:lpstr>Our Request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race Agi Oka‎</dc:creator>
  <cp:lastModifiedBy>chineoreh chineoreh</cp:lastModifiedBy>
  <cp:revision>68</cp:revision>
  <dcterms:created xsi:type="dcterms:W3CDTF">2020-10-18T13:12:08Z</dcterms:created>
  <dcterms:modified xsi:type="dcterms:W3CDTF">2023-11-03T11:53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W-Topics">
    <vt:lpwstr/>
  </property>
  <property fmtid="{D5CDD505-2E9C-101B-9397-08002B2CF9AE}" pid="3" name="ContentTypeId">
    <vt:lpwstr>0x010100C4C8B401AAE50B4896808F1C5415D9AD00C520998C167D0E4594674AE2327A74E3</vt:lpwstr>
  </property>
</Properties>
</file>